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8"/>
  </p:notesMasterIdLst>
  <p:handoutMasterIdLst>
    <p:handoutMasterId r:id="rId29"/>
  </p:handoutMasterIdLst>
  <p:sldIdLst>
    <p:sldId id="256" r:id="rId5"/>
    <p:sldId id="2147375589" r:id="rId6"/>
    <p:sldId id="4848" r:id="rId7"/>
    <p:sldId id="2147375597" r:id="rId8"/>
    <p:sldId id="2147375600" r:id="rId9"/>
    <p:sldId id="2147375617" r:id="rId10"/>
    <p:sldId id="2147375615" r:id="rId11"/>
    <p:sldId id="2147375602" r:id="rId12"/>
    <p:sldId id="2147375603" r:id="rId13"/>
    <p:sldId id="2147375604" r:id="rId14"/>
    <p:sldId id="2147375605" r:id="rId15"/>
    <p:sldId id="2147375618" r:id="rId16"/>
    <p:sldId id="2147375606" r:id="rId17"/>
    <p:sldId id="2147375607" r:id="rId18"/>
    <p:sldId id="2147375608" r:id="rId19"/>
    <p:sldId id="2147375609" r:id="rId20"/>
    <p:sldId id="2147375619" r:id="rId21"/>
    <p:sldId id="2147375610" r:id="rId22"/>
    <p:sldId id="2147375611" r:id="rId23"/>
    <p:sldId id="2147375612" r:id="rId24"/>
    <p:sldId id="2147375613" r:id="rId25"/>
    <p:sldId id="2147375614" r:id="rId26"/>
    <p:sldId id="1633" r:id="rId27"/>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88ED26-A52C-4AAB-9258-3709E793CC0D}" v="62" dt="2024-09-06T12:28:43.9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Shygen, Neha A SBOBNG-PTIY/BBN" userId="5bc8d3e6-8db9-4072-96f9-9078288621f9" providerId="ADAL" clId="{A5D365D5-26D1-4131-9732-F802C25FFC91}"/>
    <pc:docChg chg="undo custSel addSld delSld modSld sldOrd">
      <pc:chgData name="Shygen, Neha A SBOBNG-PTIY/BBN" userId="5bc8d3e6-8db9-4072-96f9-9078288621f9" providerId="ADAL" clId="{A5D365D5-26D1-4131-9732-F802C25FFC91}" dt="2024-09-01T13:13:42.751" v="4104" actId="20577"/>
      <pc:docMkLst>
        <pc:docMk/>
      </pc:docMkLst>
      <pc:sldChg chg="modSp mod">
        <pc:chgData name="Shygen, Neha A SBOBNG-PTIY/BBN" userId="5bc8d3e6-8db9-4072-96f9-9078288621f9" providerId="ADAL" clId="{A5D365D5-26D1-4131-9732-F802C25FFC91}" dt="2024-09-01T13:13:30.681" v="4102" actId="20577"/>
        <pc:sldMkLst>
          <pc:docMk/>
          <pc:sldMk cId="3267775274" sldId="256"/>
        </pc:sldMkLst>
        <pc:spChg chg="mod">
          <ac:chgData name="Shygen, Neha A SBOBNG-PTIY/BBN" userId="5bc8d3e6-8db9-4072-96f9-9078288621f9" providerId="ADAL" clId="{A5D365D5-26D1-4131-9732-F802C25FFC91}" dt="2024-09-01T13:13:30.681" v="4102" actId="20577"/>
          <ac:spMkLst>
            <pc:docMk/>
            <pc:sldMk cId="3267775274" sldId="256"/>
            <ac:spMk id="6" creationId="{0C37A4A8-A3C7-407F-B123-88E2E165C827}"/>
          </ac:spMkLst>
        </pc:spChg>
        <pc:spChg chg="mod">
          <ac:chgData name="Shygen, Neha A SBOBNG-PTIY/BBN" userId="5bc8d3e6-8db9-4072-96f9-9078288621f9" providerId="ADAL" clId="{A5D365D5-26D1-4131-9732-F802C25FFC91}" dt="2024-09-01T08:54:57.591" v="28" actId="20577"/>
          <ac:spMkLst>
            <pc:docMk/>
            <pc:sldMk cId="3267775274" sldId="256"/>
            <ac:spMk id="12" creationId="{8A24547F-8A92-CDC5-A578-3733390534F2}"/>
          </ac:spMkLst>
        </pc:spChg>
      </pc:sldChg>
      <pc:sldChg chg="addSp modSp mod">
        <pc:chgData name="Shygen, Neha A SBOBNG-PTIY/BBN" userId="5bc8d3e6-8db9-4072-96f9-9078288621f9" providerId="ADAL" clId="{A5D365D5-26D1-4131-9732-F802C25FFC91}" dt="2024-09-01T08:59:59.411" v="156" actId="1076"/>
        <pc:sldMkLst>
          <pc:docMk/>
          <pc:sldMk cId="867832184" sldId="2147375589"/>
        </pc:sldMkLst>
        <pc:spChg chg="mod">
          <ac:chgData name="Shygen, Neha A SBOBNG-PTIY/BBN" userId="5bc8d3e6-8db9-4072-96f9-9078288621f9" providerId="ADAL" clId="{A5D365D5-26D1-4131-9732-F802C25FFC91}" dt="2024-09-01T08:59:16.997" v="146" actId="20577"/>
          <ac:spMkLst>
            <pc:docMk/>
            <pc:sldMk cId="867832184" sldId="2147375589"/>
            <ac:spMk id="10" creationId="{1119CB9E-042F-11E8-F683-654626D307B3}"/>
          </ac:spMkLst>
        </pc:spChg>
        <pc:spChg chg="mod">
          <ac:chgData name="Shygen, Neha A SBOBNG-PTIY/BBN" userId="5bc8d3e6-8db9-4072-96f9-9078288621f9" providerId="ADAL" clId="{A5D365D5-26D1-4131-9732-F802C25FFC91}" dt="2024-09-01T08:59:49.019" v="153" actId="20577"/>
          <ac:spMkLst>
            <pc:docMk/>
            <pc:sldMk cId="867832184" sldId="2147375589"/>
            <ac:spMk id="11" creationId="{CE0DDF5F-FE47-F9A2-FE84-53B63DFF494D}"/>
          </ac:spMkLst>
        </pc:spChg>
        <pc:picChg chg="add mod">
          <ac:chgData name="Shygen, Neha A SBOBNG-PTIY/BBN" userId="5bc8d3e6-8db9-4072-96f9-9078288621f9" providerId="ADAL" clId="{A5D365D5-26D1-4131-9732-F802C25FFC91}" dt="2024-09-01T08:59:59.411" v="156" actId="1076"/>
          <ac:picMkLst>
            <pc:docMk/>
            <pc:sldMk cId="867832184" sldId="2147375589"/>
            <ac:picMk id="6" creationId="{84A19BDE-02A8-44DA-98E5-7D3F4476929A}"/>
          </ac:picMkLst>
        </pc:picChg>
      </pc:sldChg>
      <pc:sldChg chg="addSp modSp mod">
        <pc:chgData name="Shygen, Neha A SBOBNG-PTIY/BBN" userId="5bc8d3e6-8db9-4072-96f9-9078288621f9" providerId="ADAL" clId="{A5D365D5-26D1-4131-9732-F802C25FFC91}" dt="2024-09-01T09:11:12.081" v="645" actId="12"/>
        <pc:sldMkLst>
          <pc:docMk/>
          <pc:sldMk cId="245881457" sldId="2147375597"/>
        </pc:sldMkLst>
        <pc:spChg chg="mod">
          <ac:chgData name="Shygen, Neha A SBOBNG-PTIY/BBN" userId="5bc8d3e6-8db9-4072-96f9-9078288621f9" providerId="ADAL" clId="{A5D365D5-26D1-4131-9732-F802C25FFC91}" dt="2024-09-01T09:04:26.511" v="195" actId="20577"/>
          <ac:spMkLst>
            <pc:docMk/>
            <pc:sldMk cId="245881457" sldId="2147375597"/>
            <ac:spMk id="3" creationId="{CEA128C4-A0BC-A895-713C-306E7FF62894}"/>
          </ac:spMkLst>
        </pc:spChg>
        <pc:spChg chg="mod">
          <ac:chgData name="Shygen, Neha A SBOBNG-PTIY/BBN" userId="5bc8d3e6-8db9-4072-96f9-9078288621f9" providerId="ADAL" clId="{A5D365D5-26D1-4131-9732-F802C25FFC91}" dt="2024-09-01T09:11:12.081" v="645" actId="12"/>
          <ac:spMkLst>
            <pc:docMk/>
            <pc:sldMk cId="245881457" sldId="2147375597"/>
            <ac:spMk id="11" creationId="{DE9F1BE0-7910-FA1B-DCE8-56EFD1E4FC09}"/>
          </ac:spMkLst>
        </pc:spChg>
        <pc:spChg chg="mod">
          <ac:chgData name="Shygen, Neha A SBOBNG-PTIY/BBN" userId="5bc8d3e6-8db9-4072-96f9-9078288621f9" providerId="ADAL" clId="{A5D365D5-26D1-4131-9732-F802C25FFC91}" dt="2024-09-01T09:09:49.520" v="529" actId="20577"/>
          <ac:spMkLst>
            <pc:docMk/>
            <pc:sldMk cId="245881457" sldId="2147375597"/>
            <ac:spMk id="12" creationId="{E53E5C3F-4D2B-B85F-E592-E58E032C664C}"/>
          </ac:spMkLst>
        </pc:spChg>
        <pc:picChg chg="add mod">
          <ac:chgData name="Shygen, Neha A SBOBNG-PTIY/BBN" userId="5bc8d3e6-8db9-4072-96f9-9078288621f9" providerId="ADAL" clId="{A5D365D5-26D1-4131-9732-F802C25FFC91}" dt="2024-09-01T09:09:58.742" v="533" actId="1076"/>
          <ac:picMkLst>
            <pc:docMk/>
            <pc:sldMk cId="245881457" sldId="2147375597"/>
            <ac:picMk id="5" creationId="{AC5BAA2F-0A73-1D90-55CB-9CB41B95AB84}"/>
          </ac:picMkLst>
        </pc:picChg>
      </pc:sldChg>
      <pc:sldChg chg="addSp modSp mod">
        <pc:chgData name="Shygen, Neha A SBOBNG-PTIY/BBN" userId="5bc8d3e6-8db9-4072-96f9-9078288621f9" providerId="ADAL" clId="{A5D365D5-26D1-4131-9732-F802C25FFC91}" dt="2024-09-01T12:59:10.363" v="4010" actId="1076"/>
        <pc:sldMkLst>
          <pc:docMk/>
          <pc:sldMk cId="1181112711" sldId="2147375600"/>
        </pc:sldMkLst>
        <pc:spChg chg="mod">
          <ac:chgData name="Shygen, Neha A SBOBNG-PTIY/BBN" userId="5bc8d3e6-8db9-4072-96f9-9078288621f9" providerId="ADAL" clId="{A5D365D5-26D1-4131-9732-F802C25FFC91}" dt="2024-09-01T11:53:05.740" v="1064" actId="20577"/>
          <ac:spMkLst>
            <pc:docMk/>
            <pc:sldMk cId="1181112711" sldId="2147375600"/>
            <ac:spMk id="3" creationId="{CEA128C4-A0BC-A895-713C-306E7FF62894}"/>
          </ac:spMkLst>
        </pc:spChg>
        <pc:spChg chg="mod">
          <ac:chgData name="Shygen, Neha A SBOBNG-PTIY/BBN" userId="5bc8d3e6-8db9-4072-96f9-9078288621f9" providerId="ADAL" clId="{A5D365D5-26D1-4131-9732-F802C25FFC91}" dt="2024-09-01T11:53:58.145" v="1096" actId="20577"/>
          <ac:spMkLst>
            <pc:docMk/>
            <pc:sldMk cId="1181112711" sldId="2147375600"/>
            <ac:spMk id="11" creationId="{DE9F1BE0-7910-FA1B-DCE8-56EFD1E4FC09}"/>
          </ac:spMkLst>
        </pc:spChg>
        <pc:spChg chg="mod">
          <ac:chgData name="Shygen, Neha A SBOBNG-PTIY/BBN" userId="5bc8d3e6-8db9-4072-96f9-9078288621f9" providerId="ADAL" clId="{A5D365D5-26D1-4131-9732-F802C25FFC91}" dt="2024-09-01T12:58:58.230" v="4005" actId="20577"/>
          <ac:spMkLst>
            <pc:docMk/>
            <pc:sldMk cId="1181112711" sldId="2147375600"/>
            <ac:spMk id="12" creationId="{E53E5C3F-4D2B-B85F-E592-E58E032C664C}"/>
          </ac:spMkLst>
        </pc:spChg>
        <pc:picChg chg="add mod">
          <ac:chgData name="Shygen, Neha A SBOBNG-PTIY/BBN" userId="5bc8d3e6-8db9-4072-96f9-9078288621f9" providerId="ADAL" clId="{A5D365D5-26D1-4131-9732-F802C25FFC91}" dt="2024-09-01T12:59:10.363" v="4010" actId="1076"/>
          <ac:picMkLst>
            <pc:docMk/>
            <pc:sldMk cId="1181112711" sldId="2147375600"/>
            <ac:picMk id="5" creationId="{6C88A94F-2992-3E37-71FD-9E097C350782}"/>
          </ac:picMkLst>
        </pc:picChg>
      </pc:sldChg>
      <pc:sldChg chg="modSp del mod">
        <pc:chgData name="Shygen, Neha A SBOBNG-PTIY/BBN" userId="5bc8d3e6-8db9-4072-96f9-9078288621f9" providerId="ADAL" clId="{A5D365D5-26D1-4131-9732-F802C25FFC91}" dt="2024-09-01T11:54:10.166" v="1097" actId="2696"/>
        <pc:sldMkLst>
          <pc:docMk/>
          <pc:sldMk cId="3233747587" sldId="2147375601"/>
        </pc:sldMkLst>
        <pc:spChg chg="mod">
          <ac:chgData name="Shygen, Neha A SBOBNG-PTIY/BBN" userId="5bc8d3e6-8db9-4072-96f9-9078288621f9" providerId="ADAL" clId="{A5D365D5-26D1-4131-9732-F802C25FFC91}" dt="2024-09-01T09:24:39.774" v="1047" actId="20577"/>
          <ac:spMkLst>
            <pc:docMk/>
            <pc:sldMk cId="3233747587" sldId="2147375601"/>
            <ac:spMk id="3" creationId="{CEA128C4-A0BC-A895-713C-306E7FF62894}"/>
          </ac:spMkLst>
        </pc:spChg>
      </pc:sldChg>
      <pc:sldChg chg="addSp delSp modSp mod">
        <pc:chgData name="Shygen, Neha A SBOBNG-PTIY/BBN" userId="5bc8d3e6-8db9-4072-96f9-9078288621f9" providerId="ADAL" clId="{A5D365D5-26D1-4131-9732-F802C25FFC91}" dt="2024-09-01T13:06:31.594" v="4090" actId="1076"/>
        <pc:sldMkLst>
          <pc:docMk/>
          <pc:sldMk cId="3971512377" sldId="2147375603"/>
        </pc:sldMkLst>
        <pc:spChg chg="mod">
          <ac:chgData name="Shygen, Neha A SBOBNG-PTIY/BBN" userId="5bc8d3e6-8db9-4072-96f9-9078288621f9" providerId="ADAL" clId="{A5D365D5-26D1-4131-9732-F802C25FFC91}" dt="2024-09-01T12:20:07.922" v="1903"/>
          <ac:spMkLst>
            <pc:docMk/>
            <pc:sldMk cId="3971512377" sldId="2147375603"/>
            <ac:spMk id="3" creationId="{CEA128C4-A0BC-A895-713C-306E7FF62894}"/>
          </ac:spMkLst>
        </pc:spChg>
        <pc:spChg chg="mod">
          <ac:chgData name="Shygen, Neha A SBOBNG-PTIY/BBN" userId="5bc8d3e6-8db9-4072-96f9-9078288621f9" providerId="ADAL" clId="{A5D365D5-26D1-4131-9732-F802C25FFC91}" dt="2024-09-01T12:23:22.730" v="2175" actId="20577"/>
          <ac:spMkLst>
            <pc:docMk/>
            <pc:sldMk cId="3971512377" sldId="2147375603"/>
            <ac:spMk id="11" creationId="{DE9F1BE0-7910-FA1B-DCE8-56EFD1E4FC09}"/>
          </ac:spMkLst>
        </pc:spChg>
        <pc:spChg chg="mod">
          <ac:chgData name="Shygen, Neha A SBOBNG-PTIY/BBN" userId="5bc8d3e6-8db9-4072-96f9-9078288621f9" providerId="ADAL" clId="{A5D365D5-26D1-4131-9732-F802C25FFC91}" dt="2024-09-01T12:59:19.169" v="4011" actId="20577"/>
          <ac:spMkLst>
            <pc:docMk/>
            <pc:sldMk cId="3971512377" sldId="2147375603"/>
            <ac:spMk id="12" creationId="{E53E5C3F-4D2B-B85F-E592-E58E032C664C}"/>
          </ac:spMkLst>
        </pc:spChg>
        <pc:picChg chg="add del mod">
          <ac:chgData name="Shygen, Neha A SBOBNG-PTIY/BBN" userId="5bc8d3e6-8db9-4072-96f9-9078288621f9" providerId="ADAL" clId="{A5D365D5-26D1-4131-9732-F802C25FFC91}" dt="2024-09-01T13:00:27.391" v="4021" actId="478"/>
          <ac:picMkLst>
            <pc:docMk/>
            <pc:sldMk cId="3971512377" sldId="2147375603"/>
            <ac:picMk id="6" creationId="{5D254DC6-5E7F-3A5E-B215-17B987D6DFEA}"/>
          </ac:picMkLst>
        </pc:picChg>
        <pc:picChg chg="add mod">
          <ac:chgData name="Shygen, Neha A SBOBNG-PTIY/BBN" userId="5bc8d3e6-8db9-4072-96f9-9078288621f9" providerId="ADAL" clId="{A5D365D5-26D1-4131-9732-F802C25FFC91}" dt="2024-09-01T13:06:31.594" v="4090" actId="1076"/>
          <ac:picMkLst>
            <pc:docMk/>
            <pc:sldMk cId="3971512377" sldId="2147375603"/>
            <ac:picMk id="9" creationId="{CC06F0D2-3E2E-9102-1DDD-C0E0E3989F6D}"/>
          </ac:picMkLst>
        </pc:picChg>
      </pc:sldChg>
      <pc:sldChg chg="addSp delSp modSp mod">
        <pc:chgData name="Shygen, Neha A SBOBNG-PTIY/BBN" userId="5bc8d3e6-8db9-4072-96f9-9078288621f9" providerId="ADAL" clId="{A5D365D5-26D1-4131-9732-F802C25FFC91}" dt="2024-09-01T13:07:31.049" v="4092" actId="1076"/>
        <pc:sldMkLst>
          <pc:docMk/>
          <pc:sldMk cId="3179805674" sldId="2147375604"/>
        </pc:sldMkLst>
        <pc:spChg chg="mod">
          <ac:chgData name="Shygen, Neha A SBOBNG-PTIY/BBN" userId="5bc8d3e6-8db9-4072-96f9-9078288621f9" providerId="ADAL" clId="{A5D365D5-26D1-4131-9732-F802C25FFC91}" dt="2024-09-01T12:20:20.736" v="1904"/>
          <ac:spMkLst>
            <pc:docMk/>
            <pc:sldMk cId="3179805674" sldId="2147375604"/>
            <ac:spMk id="3" creationId="{CEA128C4-A0BC-A895-713C-306E7FF62894}"/>
          </ac:spMkLst>
        </pc:spChg>
        <pc:spChg chg="mod">
          <ac:chgData name="Shygen, Neha A SBOBNG-PTIY/BBN" userId="5bc8d3e6-8db9-4072-96f9-9078288621f9" providerId="ADAL" clId="{A5D365D5-26D1-4131-9732-F802C25FFC91}" dt="2024-09-01T12:25:21.223" v="2438" actId="20577"/>
          <ac:spMkLst>
            <pc:docMk/>
            <pc:sldMk cId="3179805674" sldId="2147375604"/>
            <ac:spMk id="11" creationId="{DE9F1BE0-7910-FA1B-DCE8-56EFD1E4FC09}"/>
          </ac:spMkLst>
        </pc:spChg>
        <pc:spChg chg="mod">
          <ac:chgData name="Shygen, Neha A SBOBNG-PTIY/BBN" userId="5bc8d3e6-8db9-4072-96f9-9078288621f9" providerId="ADAL" clId="{A5D365D5-26D1-4131-9732-F802C25FFC91}" dt="2024-09-01T13:01:46.161" v="4031" actId="20577"/>
          <ac:spMkLst>
            <pc:docMk/>
            <pc:sldMk cId="3179805674" sldId="2147375604"/>
            <ac:spMk id="12" creationId="{E53E5C3F-4D2B-B85F-E592-E58E032C664C}"/>
          </ac:spMkLst>
        </pc:spChg>
        <pc:picChg chg="add del mod">
          <ac:chgData name="Shygen, Neha A SBOBNG-PTIY/BBN" userId="5bc8d3e6-8db9-4072-96f9-9078288621f9" providerId="ADAL" clId="{A5D365D5-26D1-4131-9732-F802C25FFC91}" dt="2024-09-01T13:02:19.901" v="4033" actId="478"/>
          <ac:picMkLst>
            <pc:docMk/>
            <pc:sldMk cId="3179805674" sldId="2147375604"/>
            <ac:picMk id="6" creationId="{EE057BDD-1619-3DC9-E307-44E98BC44C55}"/>
          </ac:picMkLst>
        </pc:picChg>
        <pc:picChg chg="add mod">
          <ac:chgData name="Shygen, Neha A SBOBNG-PTIY/BBN" userId="5bc8d3e6-8db9-4072-96f9-9078288621f9" providerId="ADAL" clId="{A5D365D5-26D1-4131-9732-F802C25FFC91}" dt="2024-09-01T13:07:31.049" v="4092" actId="1076"/>
          <ac:picMkLst>
            <pc:docMk/>
            <pc:sldMk cId="3179805674" sldId="2147375604"/>
            <ac:picMk id="9" creationId="{E7F48A5A-4E4A-60F7-7329-AD09FE615932}"/>
          </ac:picMkLst>
        </pc:picChg>
      </pc:sldChg>
      <pc:sldChg chg="addSp modSp mod">
        <pc:chgData name="Shygen, Neha A SBOBNG-PTIY/BBN" userId="5bc8d3e6-8db9-4072-96f9-9078288621f9" providerId="ADAL" clId="{A5D365D5-26D1-4131-9732-F802C25FFC91}" dt="2024-09-01T13:06:00.185" v="4083" actId="1076"/>
        <pc:sldMkLst>
          <pc:docMk/>
          <pc:sldMk cId="86366928" sldId="2147375605"/>
        </pc:sldMkLst>
        <pc:spChg chg="mod">
          <ac:chgData name="Shygen, Neha A SBOBNG-PTIY/BBN" userId="5bc8d3e6-8db9-4072-96f9-9078288621f9" providerId="ADAL" clId="{A5D365D5-26D1-4131-9732-F802C25FFC91}" dt="2024-09-01T12:20:36.666" v="1905"/>
          <ac:spMkLst>
            <pc:docMk/>
            <pc:sldMk cId="86366928" sldId="2147375605"/>
            <ac:spMk id="3" creationId="{CEA128C4-A0BC-A895-713C-306E7FF62894}"/>
          </ac:spMkLst>
        </pc:spChg>
        <pc:spChg chg="mod">
          <ac:chgData name="Shygen, Neha A SBOBNG-PTIY/BBN" userId="5bc8d3e6-8db9-4072-96f9-9078288621f9" providerId="ADAL" clId="{A5D365D5-26D1-4131-9732-F802C25FFC91}" dt="2024-09-01T12:30:09.717" v="2880" actId="20577"/>
          <ac:spMkLst>
            <pc:docMk/>
            <pc:sldMk cId="86366928" sldId="2147375605"/>
            <ac:spMk id="11" creationId="{DE9F1BE0-7910-FA1B-DCE8-56EFD1E4FC09}"/>
          </ac:spMkLst>
        </pc:spChg>
        <pc:spChg chg="mod">
          <ac:chgData name="Shygen, Neha A SBOBNG-PTIY/BBN" userId="5bc8d3e6-8db9-4072-96f9-9078288621f9" providerId="ADAL" clId="{A5D365D5-26D1-4131-9732-F802C25FFC91}" dt="2024-09-01T13:05:53.770" v="4079" actId="20577"/>
          <ac:spMkLst>
            <pc:docMk/>
            <pc:sldMk cId="86366928" sldId="2147375605"/>
            <ac:spMk id="12" creationId="{E53E5C3F-4D2B-B85F-E592-E58E032C664C}"/>
          </ac:spMkLst>
        </pc:spChg>
        <pc:picChg chg="add mod">
          <ac:chgData name="Shygen, Neha A SBOBNG-PTIY/BBN" userId="5bc8d3e6-8db9-4072-96f9-9078288621f9" providerId="ADAL" clId="{A5D365D5-26D1-4131-9732-F802C25FFC91}" dt="2024-09-01T13:06:00.185" v="4083" actId="1076"/>
          <ac:picMkLst>
            <pc:docMk/>
            <pc:sldMk cId="86366928" sldId="2147375605"/>
            <ac:picMk id="2" creationId="{AEAFA4E4-9A5A-5911-EBB2-92C0D11D1684}"/>
          </ac:picMkLst>
        </pc:picChg>
      </pc:sldChg>
      <pc:sldChg chg="addSp modSp mod">
        <pc:chgData name="Shygen, Neha A SBOBNG-PTIY/BBN" userId="5bc8d3e6-8db9-4072-96f9-9078288621f9" providerId="ADAL" clId="{A5D365D5-26D1-4131-9732-F802C25FFC91}" dt="2024-09-01T13:00:36.090" v="4024"/>
        <pc:sldMkLst>
          <pc:docMk/>
          <pc:sldMk cId="2340944189" sldId="2147375607"/>
        </pc:sldMkLst>
        <pc:spChg chg="mod">
          <ac:chgData name="Shygen, Neha A SBOBNG-PTIY/BBN" userId="5bc8d3e6-8db9-4072-96f9-9078288621f9" providerId="ADAL" clId="{A5D365D5-26D1-4131-9732-F802C25FFC91}" dt="2024-09-01T12:32:30.077" v="3143" actId="20577"/>
          <ac:spMkLst>
            <pc:docMk/>
            <pc:sldMk cId="2340944189" sldId="2147375607"/>
            <ac:spMk id="11" creationId="{DE9F1BE0-7910-FA1B-DCE8-56EFD1E4FC09}"/>
          </ac:spMkLst>
        </pc:spChg>
        <pc:spChg chg="mod">
          <ac:chgData name="Shygen, Neha A SBOBNG-PTIY/BBN" userId="5bc8d3e6-8db9-4072-96f9-9078288621f9" providerId="ADAL" clId="{A5D365D5-26D1-4131-9732-F802C25FFC91}" dt="2024-09-01T13:00:35.439" v="4023" actId="20577"/>
          <ac:spMkLst>
            <pc:docMk/>
            <pc:sldMk cId="2340944189" sldId="2147375607"/>
            <ac:spMk id="12" creationId="{E53E5C3F-4D2B-B85F-E592-E58E032C664C}"/>
          </ac:spMkLst>
        </pc:spChg>
        <pc:picChg chg="add mod">
          <ac:chgData name="Shygen, Neha A SBOBNG-PTIY/BBN" userId="5bc8d3e6-8db9-4072-96f9-9078288621f9" providerId="ADAL" clId="{A5D365D5-26D1-4131-9732-F802C25FFC91}" dt="2024-09-01T13:00:36.090" v="4024"/>
          <ac:picMkLst>
            <pc:docMk/>
            <pc:sldMk cId="2340944189" sldId="2147375607"/>
            <ac:picMk id="5" creationId="{00ABB84D-01E2-1E5D-DC53-941B73B59CE2}"/>
          </ac:picMkLst>
        </pc:picChg>
      </pc:sldChg>
      <pc:sldChg chg="addSp modSp mod">
        <pc:chgData name="Shygen, Neha A SBOBNG-PTIY/BBN" userId="5bc8d3e6-8db9-4072-96f9-9078288621f9" providerId="ADAL" clId="{A5D365D5-26D1-4131-9732-F802C25FFC91}" dt="2024-09-01T13:02:38.918" v="4040" actId="14100"/>
        <pc:sldMkLst>
          <pc:docMk/>
          <pc:sldMk cId="3159148252" sldId="2147375608"/>
        </pc:sldMkLst>
        <pc:spChg chg="mod">
          <ac:chgData name="Shygen, Neha A SBOBNG-PTIY/BBN" userId="5bc8d3e6-8db9-4072-96f9-9078288621f9" providerId="ADAL" clId="{A5D365D5-26D1-4131-9732-F802C25FFC91}" dt="2024-09-01T12:33:26.889" v="3292" actId="20577"/>
          <ac:spMkLst>
            <pc:docMk/>
            <pc:sldMk cId="3159148252" sldId="2147375608"/>
            <ac:spMk id="11" creationId="{DE9F1BE0-7910-FA1B-DCE8-56EFD1E4FC09}"/>
          </ac:spMkLst>
        </pc:spChg>
        <pc:spChg chg="mod">
          <ac:chgData name="Shygen, Neha A SBOBNG-PTIY/BBN" userId="5bc8d3e6-8db9-4072-96f9-9078288621f9" providerId="ADAL" clId="{A5D365D5-26D1-4131-9732-F802C25FFC91}" dt="2024-09-01T13:02:27.844" v="4034" actId="20577"/>
          <ac:spMkLst>
            <pc:docMk/>
            <pc:sldMk cId="3159148252" sldId="2147375608"/>
            <ac:spMk id="12" creationId="{E53E5C3F-4D2B-B85F-E592-E58E032C664C}"/>
          </ac:spMkLst>
        </pc:spChg>
        <pc:picChg chg="add mod">
          <ac:chgData name="Shygen, Neha A SBOBNG-PTIY/BBN" userId="5bc8d3e6-8db9-4072-96f9-9078288621f9" providerId="ADAL" clId="{A5D365D5-26D1-4131-9732-F802C25FFC91}" dt="2024-09-01T13:02:38.918" v="4040" actId="14100"/>
          <ac:picMkLst>
            <pc:docMk/>
            <pc:sldMk cId="3159148252" sldId="2147375608"/>
            <ac:picMk id="5" creationId="{72CDB5AA-0438-5C20-C4DA-CB1431B92EFA}"/>
          </ac:picMkLst>
        </pc:picChg>
      </pc:sldChg>
      <pc:sldChg chg="addSp modSp mod">
        <pc:chgData name="Shygen, Neha A SBOBNG-PTIY/BBN" userId="5bc8d3e6-8db9-4072-96f9-9078288621f9" providerId="ADAL" clId="{A5D365D5-26D1-4131-9732-F802C25FFC91}" dt="2024-09-01T13:08:30.447" v="4094" actId="1076"/>
        <pc:sldMkLst>
          <pc:docMk/>
          <pc:sldMk cId="3070204084" sldId="2147375609"/>
        </pc:sldMkLst>
        <pc:spChg chg="mod">
          <ac:chgData name="Shygen, Neha A SBOBNG-PTIY/BBN" userId="5bc8d3e6-8db9-4072-96f9-9078288621f9" providerId="ADAL" clId="{A5D365D5-26D1-4131-9732-F802C25FFC91}" dt="2024-09-01T12:34:34.743" v="3437" actId="20577"/>
          <ac:spMkLst>
            <pc:docMk/>
            <pc:sldMk cId="3070204084" sldId="2147375609"/>
            <ac:spMk id="11" creationId="{DE9F1BE0-7910-FA1B-DCE8-56EFD1E4FC09}"/>
          </ac:spMkLst>
        </pc:spChg>
        <pc:spChg chg="mod">
          <ac:chgData name="Shygen, Neha A SBOBNG-PTIY/BBN" userId="5bc8d3e6-8db9-4072-96f9-9078288621f9" providerId="ADAL" clId="{A5D365D5-26D1-4131-9732-F802C25FFC91}" dt="2024-09-01T13:02:45.134" v="4042" actId="20577"/>
          <ac:spMkLst>
            <pc:docMk/>
            <pc:sldMk cId="3070204084" sldId="2147375609"/>
            <ac:spMk id="12" creationId="{E53E5C3F-4D2B-B85F-E592-E58E032C664C}"/>
          </ac:spMkLst>
        </pc:spChg>
        <pc:picChg chg="add mod">
          <ac:chgData name="Shygen, Neha A SBOBNG-PTIY/BBN" userId="5bc8d3e6-8db9-4072-96f9-9078288621f9" providerId="ADAL" clId="{A5D365D5-26D1-4131-9732-F802C25FFC91}" dt="2024-09-01T13:08:30.447" v="4094" actId="1076"/>
          <ac:picMkLst>
            <pc:docMk/>
            <pc:sldMk cId="3070204084" sldId="2147375609"/>
            <ac:picMk id="5" creationId="{BEA79D45-4117-2AF7-4FF2-C7F0FB1A14A7}"/>
          </ac:picMkLst>
        </pc:picChg>
      </pc:sldChg>
      <pc:sldChg chg="modSp mod">
        <pc:chgData name="Shygen, Neha A SBOBNG-PTIY/BBN" userId="5bc8d3e6-8db9-4072-96f9-9078288621f9" providerId="ADAL" clId="{A5D365D5-26D1-4131-9732-F802C25FFC91}" dt="2024-09-01T12:39:24.527" v="3715" actId="20577"/>
        <pc:sldMkLst>
          <pc:docMk/>
          <pc:sldMk cId="3754613224" sldId="2147375611"/>
        </pc:sldMkLst>
        <pc:spChg chg="mod">
          <ac:chgData name="Shygen, Neha A SBOBNG-PTIY/BBN" userId="5bc8d3e6-8db9-4072-96f9-9078288621f9" providerId="ADAL" clId="{A5D365D5-26D1-4131-9732-F802C25FFC91}" dt="2024-09-01T12:38:51.923" v="3634" actId="20577"/>
          <ac:spMkLst>
            <pc:docMk/>
            <pc:sldMk cId="3754613224" sldId="2147375611"/>
            <ac:spMk id="18" creationId="{6C73795A-BE20-7075-E9C6-6F145CE60794}"/>
          </ac:spMkLst>
        </pc:spChg>
        <pc:spChg chg="mod">
          <ac:chgData name="Shygen, Neha A SBOBNG-PTIY/BBN" userId="5bc8d3e6-8db9-4072-96f9-9078288621f9" providerId="ADAL" clId="{A5D365D5-26D1-4131-9732-F802C25FFC91}" dt="2024-09-01T12:38:40.352" v="3606" actId="20577"/>
          <ac:spMkLst>
            <pc:docMk/>
            <pc:sldMk cId="3754613224" sldId="2147375611"/>
            <ac:spMk id="19" creationId="{A3E2F4D1-4417-E244-3DB9-A6FF5866A342}"/>
          </ac:spMkLst>
        </pc:spChg>
        <pc:spChg chg="mod">
          <ac:chgData name="Shygen, Neha A SBOBNG-PTIY/BBN" userId="5bc8d3e6-8db9-4072-96f9-9078288621f9" providerId="ADAL" clId="{A5D365D5-26D1-4131-9732-F802C25FFC91}" dt="2024-09-01T12:39:24.527" v="3715" actId="20577"/>
          <ac:spMkLst>
            <pc:docMk/>
            <pc:sldMk cId="3754613224" sldId="2147375611"/>
            <ac:spMk id="20" creationId="{3EBEB0AC-D407-44FD-A74F-90F67F3D13C3}"/>
          </ac:spMkLst>
        </pc:spChg>
      </pc:sldChg>
      <pc:sldChg chg="addSp modSp mod">
        <pc:chgData name="Shygen, Neha A SBOBNG-PTIY/BBN" userId="5bc8d3e6-8db9-4072-96f9-9078288621f9" providerId="ADAL" clId="{A5D365D5-26D1-4131-9732-F802C25FFC91}" dt="2024-09-01T13:11:15.789" v="4100" actId="1076"/>
        <pc:sldMkLst>
          <pc:docMk/>
          <pc:sldMk cId="1148838763" sldId="2147375613"/>
        </pc:sldMkLst>
        <pc:spChg chg="mod">
          <ac:chgData name="Shygen, Neha A SBOBNG-PTIY/BBN" userId="5bc8d3e6-8db9-4072-96f9-9078288621f9" providerId="ADAL" clId="{A5D365D5-26D1-4131-9732-F802C25FFC91}" dt="2024-09-01T12:40:43.231" v="3880" actId="20577"/>
          <ac:spMkLst>
            <pc:docMk/>
            <pc:sldMk cId="1148838763" sldId="2147375613"/>
            <ac:spMk id="11" creationId="{8CC1343B-2E39-FEFF-8FF6-46822F18B432}"/>
          </ac:spMkLst>
        </pc:spChg>
        <pc:spChg chg="mod">
          <ac:chgData name="Shygen, Neha A SBOBNG-PTIY/BBN" userId="5bc8d3e6-8db9-4072-96f9-9078288621f9" providerId="ADAL" clId="{A5D365D5-26D1-4131-9732-F802C25FFC91}" dt="2024-09-01T13:08:44.125" v="4098" actId="20577"/>
          <ac:spMkLst>
            <pc:docMk/>
            <pc:sldMk cId="1148838763" sldId="2147375613"/>
            <ac:spMk id="12" creationId="{5A873A1A-E63F-91AE-7D43-ED0F86870147}"/>
          </ac:spMkLst>
        </pc:spChg>
        <pc:picChg chg="add mod">
          <ac:chgData name="Shygen, Neha A SBOBNG-PTIY/BBN" userId="5bc8d3e6-8db9-4072-96f9-9078288621f9" providerId="ADAL" clId="{A5D365D5-26D1-4131-9732-F802C25FFC91}" dt="2024-09-01T13:11:15.789" v="4100" actId="1076"/>
          <ac:picMkLst>
            <pc:docMk/>
            <pc:sldMk cId="1148838763" sldId="2147375613"/>
            <ac:picMk id="6" creationId="{2E75524D-5B97-9162-6662-C8AF33904AC5}"/>
          </ac:picMkLst>
        </pc:picChg>
      </pc:sldChg>
      <pc:sldChg chg="modSp mod">
        <pc:chgData name="Shygen, Neha A SBOBNG-PTIY/BBN" userId="5bc8d3e6-8db9-4072-96f9-9078288621f9" providerId="ADAL" clId="{A5D365D5-26D1-4131-9732-F802C25FFC91}" dt="2024-09-01T12:42:43.497" v="3998" actId="20577"/>
        <pc:sldMkLst>
          <pc:docMk/>
          <pc:sldMk cId="3865850111" sldId="2147375614"/>
        </pc:sldMkLst>
        <pc:spChg chg="mod">
          <ac:chgData name="Shygen, Neha A SBOBNG-PTIY/BBN" userId="5bc8d3e6-8db9-4072-96f9-9078288621f9" providerId="ADAL" clId="{A5D365D5-26D1-4131-9732-F802C25FFC91}" dt="2024-09-01T12:42:43.497" v="3998" actId="20577"/>
          <ac:spMkLst>
            <pc:docMk/>
            <pc:sldMk cId="3865850111" sldId="2147375614"/>
            <ac:spMk id="6" creationId="{AC2F88D2-81D4-FAD4-568E-A3F495B06411}"/>
          </ac:spMkLst>
        </pc:spChg>
      </pc:sldChg>
      <pc:sldChg chg="addSp modSp add mod">
        <pc:chgData name="Shygen, Neha A SBOBNG-PTIY/BBN" userId="5bc8d3e6-8db9-4072-96f9-9078288621f9" providerId="ADAL" clId="{A5D365D5-26D1-4131-9732-F802C25FFC91}" dt="2024-09-01T12:19:43.472" v="1902" actId="20577"/>
        <pc:sldMkLst>
          <pc:docMk/>
          <pc:sldMk cId="2407521804" sldId="2147375615"/>
        </pc:sldMkLst>
        <pc:spChg chg="mod">
          <ac:chgData name="Shygen, Neha A SBOBNG-PTIY/BBN" userId="5bc8d3e6-8db9-4072-96f9-9078288621f9" providerId="ADAL" clId="{A5D365D5-26D1-4131-9732-F802C25FFC91}" dt="2024-09-01T12:19:43.472" v="1902" actId="20577"/>
          <ac:spMkLst>
            <pc:docMk/>
            <pc:sldMk cId="2407521804" sldId="2147375615"/>
            <ac:spMk id="3" creationId="{CEA128C4-A0BC-A895-713C-306E7FF62894}"/>
          </ac:spMkLst>
        </pc:spChg>
        <pc:spChg chg="mod">
          <ac:chgData name="Shygen, Neha A SBOBNG-PTIY/BBN" userId="5bc8d3e6-8db9-4072-96f9-9078288621f9" providerId="ADAL" clId="{A5D365D5-26D1-4131-9732-F802C25FFC91}" dt="2024-09-01T12:17:40.228" v="1881" actId="20577"/>
          <ac:spMkLst>
            <pc:docMk/>
            <pc:sldMk cId="2407521804" sldId="2147375615"/>
            <ac:spMk id="11" creationId="{DE9F1BE0-7910-FA1B-DCE8-56EFD1E4FC09}"/>
          </ac:spMkLst>
        </pc:spChg>
        <pc:spChg chg="mod">
          <ac:chgData name="Shygen, Neha A SBOBNG-PTIY/BBN" userId="5bc8d3e6-8db9-4072-96f9-9078288621f9" providerId="ADAL" clId="{A5D365D5-26D1-4131-9732-F802C25FFC91}" dt="2024-09-01T12:19:11.795" v="1888" actId="14100"/>
          <ac:spMkLst>
            <pc:docMk/>
            <pc:sldMk cId="2407521804" sldId="2147375615"/>
            <ac:spMk id="12" creationId="{E53E5C3F-4D2B-B85F-E592-E58E032C664C}"/>
          </ac:spMkLst>
        </pc:spChg>
        <pc:picChg chg="add mod">
          <ac:chgData name="Shygen, Neha A SBOBNG-PTIY/BBN" userId="5bc8d3e6-8db9-4072-96f9-9078288621f9" providerId="ADAL" clId="{A5D365D5-26D1-4131-9732-F802C25FFC91}" dt="2024-09-01T12:19:11.795" v="1888" actId="14100"/>
          <ac:picMkLst>
            <pc:docMk/>
            <pc:sldMk cId="2407521804" sldId="2147375615"/>
            <ac:picMk id="2050" creationId="{666BE887-B3DD-B3B3-FC92-64C53B18FDB0}"/>
          </ac:picMkLst>
        </pc:picChg>
        <pc:picChg chg="add mod">
          <ac:chgData name="Shygen, Neha A SBOBNG-PTIY/BBN" userId="5bc8d3e6-8db9-4072-96f9-9078288621f9" providerId="ADAL" clId="{A5D365D5-26D1-4131-9732-F802C25FFC91}" dt="2024-09-01T12:19:21.734" v="1891" actId="14100"/>
          <ac:picMkLst>
            <pc:docMk/>
            <pc:sldMk cId="2407521804" sldId="2147375615"/>
            <ac:picMk id="2052" creationId="{DE216BA0-0C75-ADE5-03A2-B8F8C99F7118}"/>
          </ac:picMkLst>
        </pc:picChg>
        <pc:picChg chg="add mod">
          <ac:chgData name="Shygen, Neha A SBOBNG-PTIY/BBN" userId="5bc8d3e6-8db9-4072-96f9-9078288621f9" providerId="ADAL" clId="{A5D365D5-26D1-4131-9732-F802C25FFC91}" dt="2024-09-01T12:19:39.696" v="1896" actId="1076"/>
          <ac:picMkLst>
            <pc:docMk/>
            <pc:sldMk cId="2407521804" sldId="2147375615"/>
            <ac:picMk id="2054" creationId="{0C4627A1-E5E1-200E-9871-B238876A2416}"/>
          </ac:picMkLst>
        </pc:picChg>
      </pc:sldChg>
      <pc:sldChg chg="addSp delSp modSp add del mod ord">
        <pc:chgData name="Shygen, Neha A SBOBNG-PTIY/BBN" userId="5bc8d3e6-8db9-4072-96f9-9078288621f9" providerId="ADAL" clId="{A5D365D5-26D1-4131-9732-F802C25FFC91}" dt="2024-09-01T12:13:46.936" v="1513" actId="2696"/>
        <pc:sldMkLst>
          <pc:docMk/>
          <pc:sldMk cId="563789338" sldId="2147375616"/>
        </pc:sldMkLst>
        <pc:spChg chg="add">
          <ac:chgData name="Shygen, Neha A SBOBNG-PTIY/BBN" userId="5bc8d3e6-8db9-4072-96f9-9078288621f9" providerId="ADAL" clId="{A5D365D5-26D1-4131-9732-F802C25FFC91}" dt="2024-09-01T11:58:02.392" v="1311"/>
          <ac:spMkLst>
            <pc:docMk/>
            <pc:sldMk cId="563789338" sldId="2147375616"/>
            <ac:spMk id="2" creationId="{831FFCF0-DD79-7B53-5233-0F43D79C3A81}"/>
          </ac:spMkLst>
        </pc:spChg>
        <pc:spChg chg="mod">
          <ac:chgData name="Shygen, Neha A SBOBNG-PTIY/BBN" userId="5bc8d3e6-8db9-4072-96f9-9078288621f9" providerId="ADAL" clId="{A5D365D5-26D1-4131-9732-F802C25FFC91}" dt="2024-09-01T12:00:58.449" v="1345" actId="20577"/>
          <ac:spMkLst>
            <pc:docMk/>
            <pc:sldMk cId="563789338" sldId="2147375616"/>
            <ac:spMk id="3" creationId="{CEA128C4-A0BC-A895-713C-306E7FF62894}"/>
          </ac:spMkLst>
        </pc:spChg>
        <pc:spChg chg="add mod">
          <ac:chgData name="Shygen, Neha A SBOBNG-PTIY/BBN" userId="5bc8d3e6-8db9-4072-96f9-9078288621f9" providerId="ADAL" clId="{A5D365D5-26D1-4131-9732-F802C25FFC91}" dt="2024-09-01T11:58:42.201" v="1316" actId="1076"/>
          <ac:spMkLst>
            <pc:docMk/>
            <pc:sldMk cId="563789338" sldId="2147375616"/>
            <ac:spMk id="5" creationId="{D37A4A0F-1D7D-E12D-313A-F1FE1FD683F2}"/>
          </ac:spMkLst>
        </pc:spChg>
        <pc:spChg chg="mod">
          <ac:chgData name="Shygen, Neha A SBOBNG-PTIY/BBN" userId="5bc8d3e6-8db9-4072-96f9-9078288621f9" providerId="ADAL" clId="{A5D365D5-26D1-4131-9732-F802C25FFC91}" dt="2024-09-01T12:12:47.466" v="1512" actId="20577"/>
          <ac:spMkLst>
            <pc:docMk/>
            <pc:sldMk cId="563789338" sldId="2147375616"/>
            <ac:spMk id="11" creationId="{DE9F1BE0-7910-FA1B-DCE8-56EFD1E4FC09}"/>
          </ac:spMkLst>
        </pc:spChg>
        <pc:spChg chg="mod">
          <ac:chgData name="Shygen, Neha A SBOBNG-PTIY/BBN" userId="5bc8d3e6-8db9-4072-96f9-9078288621f9" providerId="ADAL" clId="{A5D365D5-26D1-4131-9732-F802C25FFC91}" dt="2024-09-01T12:10:04.095" v="1361" actId="14100"/>
          <ac:spMkLst>
            <pc:docMk/>
            <pc:sldMk cId="563789338" sldId="2147375616"/>
            <ac:spMk id="12" creationId="{E53E5C3F-4D2B-B85F-E592-E58E032C664C}"/>
          </ac:spMkLst>
        </pc:spChg>
        <pc:picChg chg="add mod">
          <ac:chgData name="Shygen, Neha A SBOBNG-PTIY/BBN" userId="5bc8d3e6-8db9-4072-96f9-9078288621f9" providerId="ADAL" clId="{A5D365D5-26D1-4131-9732-F802C25FFC91}" dt="2024-09-01T12:10:53.578" v="1373" actId="1076"/>
          <ac:picMkLst>
            <pc:docMk/>
            <pc:sldMk cId="563789338" sldId="2147375616"/>
            <ac:picMk id="8" creationId="{6ADE1D2E-D90D-392B-67B0-F83F45331BB0}"/>
          </ac:picMkLst>
        </pc:picChg>
        <pc:picChg chg="add del mod">
          <ac:chgData name="Shygen, Neha A SBOBNG-PTIY/BBN" userId="5bc8d3e6-8db9-4072-96f9-9078288621f9" providerId="ADAL" clId="{A5D365D5-26D1-4131-9732-F802C25FFC91}" dt="2024-09-01T12:10:37.603" v="1367" actId="478"/>
          <ac:picMkLst>
            <pc:docMk/>
            <pc:sldMk cId="563789338" sldId="2147375616"/>
            <ac:picMk id="14" creationId="{F523F89B-BF97-8BDA-F07E-9D7EA52F7E59}"/>
          </ac:picMkLst>
        </pc:picChg>
        <pc:picChg chg="add mod">
          <ac:chgData name="Shygen, Neha A SBOBNG-PTIY/BBN" userId="5bc8d3e6-8db9-4072-96f9-9078288621f9" providerId="ADAL" clId="{A5D365D5-26D1-4131-9732-F802C25FFC91}" dt="2024-09-01T12:11:02.127" v="1374" actId="14100"/>
          <ac:picMkLst>
            <pc:docMk/>
            <pc:sldMk cId="563789338" sldId="2147375616"/>
            <ac:picMk id="16" creationId="{C051D8AE-EF30-76C3-98BC-839A5E393BD9}"/>
          </ac:picMkLst>
        </pc:picChg>
      </pc:sldChg>
      <pc:sldChg chg="delSp modSp mod">
        <pc:chgData name="Shygen, Neha A SBOBNG-PTIY/BBN" userId="5bc8d3e6-8db9-4072-96f9-9078288621f9" providerId="ADAL" clId="{A5D365D5-26D1-4131-9732-F802C25FFC91}" dt="2024-09-01T13:06:19.689" v="4089" actId="1076"/>
        <pc:sldMkLst>
          <pc:docMk/>
          <pc:sldMk cId="951608246" sldId="2147375617"/>
        </pc:sldMkLst>
        <pc:spChg chg="mod">
          <ac:chgData name="Shygen, Neha A SBOBNG-PTIY/BBN" userId="5bc8d3e6-8db9-4072-96f9-9078288621f9" providerId="ADAL" clId="{A5D365D5-26D1-4131-9732-F802C25FFC91}" dt="2024-09-01T13:06:15.634" v="4087" actId="14100"/>
          <ac:spMkLst>
            <pc:docMk/>
            <pc:sldMk cId="951608246" sldId="2147375617"/>
            <ac:spMk id="11" creationId="{DE9F1BE0-7910-FA1B-DCE8-56EFD1E4FC09}"/>
          </ac:spMkLst>
        </pc:spChg>
        <pc:spChg chg="mod">
          <ac:chgData name="Shygen, Neha A SBOBNG-PTIY/BBN" userId="5bc8d3e6-8db9-4072-96f9-9078288621f9" providerId="ADAL" clId="{A5D365D5-26D1-4131-9732-F802C25FFC91}" dt="2024-09-01T13:06:12.397" v="4086" actId="14100"/>
          <ac:spMkLst>
            <pc:docMk/>
            <pc:sldMk cId="951608246" sldId="2147375617"/>
            <ac:spMk id="12" creationId="{E53E5C3F-4D2B-B85F-E592-E58E032C664C}"/>
          </ac:spMkLst>
        </pc:spChg>
        <pc:picChg chg="mod">
          <ac:chgData name="Shygen, Neha A SBOBNG-PTIY/BBN" userId="5bc8d3e6-8db9-4072-96f9-9078288621f9" providerId="ADAL" clId="{A5D365D5-26D1-4131-9732-F802C25FFC91}" dt="2024-09-01T13:06:19.689" v="4089" actId="1076"/>
          <ac:picMkLst>
            <pc:docMk/>
            <pc:sldMk cId="951608246" sldId="2147375617"/>
            <ac:picMk id="8" creationId="{6ADE1D2E-D90D-392B-67B0-F83F45331BB0}"/>
          </ac:picMkLst>
        </pc:picChg>
        <pc:picChg chg="del">
          <ac:chgData name="Shygen, Neha A SBOBNG-PTIY/BBN" userId="5bc8d3e6-8db9-4072-96f9-9078288621f9" providerId="ADAL" clId="{A5D365D5-26D1-4131-9732-F802C25FFC91}" dt="2024-09-01T13:05:44.751" v="4077" actId="478"/>
          <ac:picMkLst>
            <pc:docMk/>
            <pc:sldMk cId="951608246" sldId="2147375617"/>
            <ac:picMk id="16" creationId="{C051D8AE-EF30-76C3-98BC-839A5E393BD9}"/>
          </ac:picMkLst>
        </pc:picChg>
      </pc:sldChg>
      <pc:sldChg chg="addSp modSp add mod">
        <pc:chgData name="Shygen, Neha A SBOBNG-PTIY/BBN" userId="5bc8d3e6-8db9-4072-96f9-9078288621f9" providerId="ADAL" clId="{A5D365D5-26D1-4131-9732-F802C25FFC91}" dt="2024-09-01T13:13:42.751" v="4104" actId="20577"/>
        <pc:sldMkLst>
          <pc:docMk/>
          <pc:sldMk cId="70754927" sldId="2147375618"/>
        </pc:sldMkLst>
        <pc:spChg chg="mod">
          <ac:chgData name="Shygen, Neha A SBOBNG-PTIY/BBN" userId="5bc8d3e6-8db9-4072-96f9-9078288621f9" providerId="ADAL" clId="{A5D365D5-26D1-4131-9732-F802C25FFC91}" dt="2024-09-01T13:13:42.751" v="4104" actId="20577"/>
          <ac:spMkLst>
            <pc:docMk/>
            <pc:sldMk cId="70754927" sldId="2147375618"/>
            <ac:spMk id="3" creationId="{CEA128C4-A0BC-A895-713C-306E7FF62894}"/>
          </ac:spMkLst>
        </pc:spChg>
        <pc:spChg chg="mod">
          <ac:chgData name="Shygen, Neha A SBOBNG-PTIY/BBN" userId="5bc8d3e6-8db9-4072-96f9-9078288621f9" providerId="ADAL" clId="{A5D365D5-26D1-4131-9732-F802C25FFC91}" dt="2024-09-01T12:31:12.377" v="3051" actId="20577"/>
          <ac:spMkLst>
            <pc:docMk/>
            <pc:sldMk cId="70754927" sldId="2147375618"/>
            <ac:spMk id="11" creationId="{DE9F1BE0-7910-FA1B-DCE8-56EFD1E4FC09}"/>
          </ac:spMkLst>
        </pc:spChg>
        <pc:spChg chg="mod">
          <ac:chgData name="Shygen, Neha A SBOBNG-PTIY/BBN" userId="5bc8d3e6-8db9-4072-96f9-9078288621f9" providerId="ADAL" clId="{A5D365D5-26D1-4131-9732-F802C25FFC91}" dt="2024-09-01T13:04:54.763" v="4061" actId="20577"/>
          <ac:spMkLst>
            <pc:docMk/>
            <pc:sldMk cId="70754927" sldId="2147375618"/>
            <ac:spMk id="12" creationId="{E53E5C3F-4D2B-B85F-E592-E58E032C664C}"/>
          </ac:spMkLst>
        </pc:spChg>
        <pc:picChg chg="add mod">
          <ac:chgData name="Shygen, Neha A SBOBNG-PTIY/BBN" userId="5bc8d3e6-8db9-4072-96f9-9078288621f9" providerId="ADAL" clId="{A5D365D5-26D1-4131-9732-F802C25FFC91}" dt="2024-09-01T13:05:29.697" v="4075" actId="14100"/>
          <ac:picMkLst>
            <pc:docMk/>
            <pc:sldMk cId="70754927" sldId="2147375618"/>
            <ac:picMk id="6" creationId="{C92CE0F9-173C-7721-7AE1-262B7F44CE8A}"/>
          </ac:picMkLst>
        </pc:picChg>
        <pc:picChg chg="add mod">
          <ac:chgData name="Shygen, Neha A SBOBNG-PTIY/BBN" userId="5bc8d3e6-8db9-4072-96f9-9078288621f9" providerId="ADAL" clId="{A5D365D5-26D1-4131-9732-F802C25FFC91}" dt="2024-09-01T13:05:32.456" v="4076" actId="1076"/>
          <ac:picMkLst>
            <pc:docMk/>
            <pc:sldMk cId="70754927" sldId="2147375618"/>
            <ac:picMk id="9" creationId="{9697A9FE-82FA-F21D-C6F1-3AA44166878E}"/>
          </ac:picMkLst>
        </pc:picChg>
      </pc:sldChg>
      <pc:sldChg chg="addSp delSp modSp add mod">
        <pc:chgData name="Shygen, Neha A SBOBNG-PTIY/BBN" userId="5bc8d3e6-8db9-4072-96f9-9078288621f9" providerId="ADAL" clId="{A5D365D5-26D1-4131-9732-F802C25FFC91}" dt="2024-09-01T13:08:35.415" v="4096" actId="1076"/>
        <pc:sldMkLst>
          <pc:docMk/>
          <pc:sldMk cId="2768527952" sldId="2147375619"/>
        </pc:sldMkLst>
        <pc:spChg chg="mod">
          <ac:chgData name="Shygen, Neha A SBOBNG-PTIY/BBN" userId="5bc8d3e6-8db9-4072-96f9-9078288621f9" providerId="ADAL" clId="{A5D365D5-26D1-4131-9732-F802C25FFC91}" dt="2024-09-01T12:34:42.706" v="3441" actId="20577"/>
          <ac:spMkLst>
            <pc:docMk/>
            <pc:sldMk cId="2768527952" sldId="2147375619"/>
            <ac:spMk id="3" creationId="{CEA128C4-A0BC-A895-713C-306E7FF62894}"/>
          </ac:spMkLst>
        </pc:spChg>
        <pc:spChg chg="mod">
          <ac:chgData name="Shygen, Neha A SBOBNG-PTIY/BBN" userId="5bc8d3e6-8db9-4072-96f9-9078288621f9" providerId="ADAL" clId="{A5D365D5-26D1-4131-9732-F802C25FFC91}" dt="2024-09-01T12:35:56.039" v="3540" actId="20577"/>
          <ac:spMkLst>
            <pc:docMk/>
            <pc:sldMk cId="2768527952" sldId="2147375619"/>
            <ac:spMk id="11" creationId="{DE9F1BE0-7910-FA1B-DCE8-56EFD1E4FC09}"/>
          </ac:spMkLst>
        </pc:spChg>
        <pc:spChg chg="mod">
          <ac:chgData name="Shygen, Neha A SBOBNG-PTIY/BBN" userId="5bc8d3e6-8db9-4072-96f9-9078288621f9" providerId="ADAL" clId="{A5D365D5-26D1-4131-9732-F802C25FFC91}" dt="2024-09-01T13:03:07.765" v="4044" actId="20577"/>
          <ac:spMkLst>
            <pc:docMk/>
            <pc:sldMk cId="2768527952" sldId="2147375619"/>
            <ac:spMk id="12" creationId="{E53E5C3F-4D2B-B85F-E592-E58E032C664C}"/>
          </ac:spMkLst>
        </pc:spChg>
        <pc:picChg chg="add del mod">
          <ac:chgData name="Shygen, Neha A SBOBNG-PTIY/BBN" userId="5bc8d3e6-8db9-4072-96f9-9078288621f9" providerId="ADAL" clId="{A5D365D5-26D1-4131-9732-F802C25FFC91}" dt="2024-09-01T13:08:33.058" v="4095" actId="478"/>
          <ac:picMkLst>
            <pc:docMk/>
            <pc:sldMk cId="2768527952" sldId="2147375619"/>
            <ac:picMk id="6" creationId="{747DC779-6DBF-365D-CFC0-26240AD1D233}"/>
          </ac:picMkLst>
        </pc:picChg>
        <pc:picChg chg="add mod">
          <ac:chgData name="Shygen, Neha A SBOBNG-PTIY/BBN" userId="5bc8d3e6-8db9-4072-96f9-9078288621f9" providerId="ADAL" clId="{A5D365D5-26D1-4131-9732-F802C25FFC91}" dt="2024-09-01T13:08:35.415" v="4096" actId="1076"/>
          <ac:picMkLst>
            <pc:docMk/>
            <pc:sldMk cId="2768527952" sldId="2147375619"/>
            <ac:picMk id="9" creationId="{749EC07E-EE04-B38E-F23F-4D464D43865C}"/>
          </ac:picMkLst>
        </pc:picChg>
      </pc:sld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Shygen, Neha A SBOBNG-PTIY/BBN" userId="5bc8d3e6-8db9-4072-96f9-9078288621f9" providerId="ADAL" clId="{3788ED26-A52C-4AAB-9258-3709E793CC0D}"/>
    <pc:docChg chg="undo redo custSel modSld">
      <pc:chgData name="Shygen, Neha A SBOBNG-PTIY/BBN" userId="5bc8d3e6-8db9-4072-96f9-9078288621f9" providerId="ADAL" clId="{3788ED26-A52C-4AAB-9258-3709E793CC0D}" dt="2024-09-06T12:29:04.494" v="3788" actId="20577"/>
      <pc:docMkLst>
        <pc:docMk/>
      </pc:docMkLst>
      <pc:sldChg chg="modSp mod">
        <pc:chgData name="Shygen, Neha A SBOBNG-PTIY/BBN" userId="5bc8d3e6-8db9-4072-96f9-9078288621f9" providerId="ADAL" clId="{3788ED26-A52C-4AAB-9258-3709E793CC0D}" dt="2024-09-06T12:29:04.494" v="3788" actId="20577"/>
        <pc:sldMkLst>
          <pc:docMk/>
          <pc:sldMk cId="3267775274" sldId="256"/>
        </pc:sldMkLst>
        <pc:spChg chg="mod">
          <ac:chgData name="Shygen, Neha A SBOBNG-PTIY/BBN" userId="5bc8d3e6-8db9-4072-96f9-9078288621f9" providerId="ADAL" clId="{3788ED26-A52C-4AAB-9258-3709E793CC0D}" dt="2024-09-06T12:28:49.921" v="3768" actId="20577"/>
          <ac:spMkLst>
            <pc:docMk/>
            <pc:sldMk cId="3267775274" sldId="256"/>
            <ac:spMk id="6" creationId="{0C37A4A8-A3C7-407F-B123-88E2E165C827}"/>
          </ac:spMkLst>
        </pc:spChg>
        <pc:spChg chg="mod">
          <ac:chgData name="Shygen, Neha A SBOBNG-PTIY/BBN" userId="5bc8d3e6-8db9-4072-96f9-9078288621f9" providerId="ADAL" clId="{3788ED26-A52C-4AAB-9258-3709E793CC0D}" dt="2024-09-06T12:29:04.494" v="3788" actId="20577"/>
          <ac:spMkLst>
            <pc:docMk/>
            <pc:sldMk cId="3267775274" sldId="256"/>
            <ac:spMk id="13" creationId="{C48F8DD6-A1B3-8126-FAC3-218B712C7FFB}"/>
          </ac:spMkLst>
        </pc:spChg>
      </pc:sldChg>
      <pc:sldChg chg="addSp delSp modSp mod">
        <pc:chgData name="Shygen, Neha A SBOBNG-PTIY/BBN" userId="5bc8d3e6-8db9-4072-96f9-9078288621f9" providerId="ADAL" clId="{3788ED26-A52C-4AAB-9258-3709E793CC0D}" dt="2024-09-06T12:12:02.388" v="3679" actId="20577"/>
        <pc:sldMkLst>
          <pc:docMk/>
          <pc:sldMk cId="867832184" sldId="2147375589"/>
        </pc:sldMkLst>
        <pc:spChg chg="mod">
          <ac:chgData name="Shygen, Neha A SBOBNG-PTIY/BBN" userId="5bc8d3e6-8db9-4072-96f9-9078288621f9" providerId="ADAL" clId="{3788ED26-A52C-4AAB-9258-3709E793CC0D}" dt="2024-09-06T12:12:02.388" v="3679" actId="20577"/>
          <ac:spMkLst>
            <pc:docMk/>
            <pc:sldMk cId="867832184" sldId="2147375589"/>
            <ac:spMk id="10" creationId="{1119CB9E-042F-11E8-F683-654626D307B3}"/>
          </ac:spMkLst>
        </pc:spChg>
        <pc:picChg chg="del">
          <ac:chgData name="Shygen, Neha A SBOBNG-PTIY/BBN" userId="5bc8d3e6-8db9-4072-96f9-9078288621f9" providerId="ADAL" clId="{3788ED26-A52C-4AAB-9258-3709E793CC0D}" dt="2024-09-06T12:06:15.323" v="3161" actId="478"/>
          <ac:picMkLst>
            <pc:docMk/>
            <pc:sldMk cId="867832184" sldId="2147375589"/>
            <ac:picMk id="6" creationId="{84A19BDE-02A8-44DA-98E5-7D3F4476929A}"/>
          </ac:picMkLst>
        </pc:picChg>
        <pc:picChg chg="add mod">
          <ac:chgData name="Shygen, Neha A SBOBNG-PTIY/BBN" userId="5bc8d3e6-8db9-4072-96f9-9078288621f9" providerId="ADAL" clId="{3788ED26-A52C-4AAB-9258-3709E793CC0D}" dt="2024-09-06T12:11:28.585" v="3618" actId="1076"/>
          <ac:picMkLst>
            <pc:docMk/>
            <pc:sldMk cId="867832184" sldId="2147375589"/>
            <ac:picMk id="2050" creationId="{3576F909-EB6E-ACCD-B483-6835BF69F3EE}"/>
          </ac:picMkLst>
        </pc:picChg>
      </pc:sldChg>
      <pc:sldChg chg="addSp delSp modSp mod">
        <pc:chgData name="Shygen, Neha A SBOBNG-PTIY/BBN" userId="5bc8d3e6-8db9-4072-96f9-9078288621f9" providerId="ADAL" clId="{3788ED26-A52C-4AAB-9258-3709E793CC0D}" dt="2024-09-06T12:12:56.813" v="3686" actId="1076"/>
        <pc:sldMkLst>
          <pc:docMk/>
          <pc:sldMk cId="245881457" sldId="2147375597"/>
        </pc:sldMkLst>
        <pc:spChg chg="mod">
          <ac:chgData name="Shygen, Neha A SBOBNG-PTIY/BBN" userId="5bc8d3e6-8db9-4072-96f9-9078288621f9" providerId="ADAL" clId="{3788ED26-A52C-4AAB-9258-3709E793CC0D}" dt="2024-09-06T11:13:06.810" v="43" actId="20577"/>
          <ac:spMkLst>
            <pc:docMk/>
            <pc:sldMk cId="245881457" sldId="2147375597"/>
            <ac:spMk id="3" creationId="{CEA128C4-A0BC-A895-713C-306E7FF62894}"/>
          </ac:spMkLst>
        </pc:spChg>
        <pc:spChg chg="mod">
          <ac:chgData name="Shygen, Neha A SBOBNG-PTIY/BBN" userId="5bc8d3e6-8db9-4072-96f9-9078288621f9" providerId="ADAL" clId="{3788ED26-A52C-4AAB-9258-3709E793CC0D}" dt="2024-09-06T11:31:05.740" v="538" actId="14100"/>
          <ac:spMkLst>
            <pc:docMk/>
            <pc:sldMk cId="245881457" sldId="2147375597"/>
            <ac:spMk id="11" creationId="{DE9F1BE0-7910-FA1B-DCE8-56EFD1E4FC09}"/>
          </ac:spMkLst>
        </pc:spChg>
        <pc:spChg chg="mod">
          <ac:chgData name="Shygen, Neha A SBOBNG-PTIY/BBN" userId="5bc8d3e6-8db9-4072-96f9-9078288621f9" providerId="ADAL" clId="{3788ED26-A52C-4AAB-9258-3709E793CC0D}" dt="2024-09-06T12:12:45.799" v="3682" actId="1076"/>
          <ac:spMkLst>
            <pc:docMk/>
            <pc:sldMk cId="245881457" sldId="2147375597"/>
            <ac:spMk id="12" creationId="{E53E5C3F-4D2B-B85F-E592-E58E032C664C}"/>
          </ac:spMkLst>
        </pc:spChg>
        <pc:picChg chg="del">
          <ac:chgData name="Shygen, Neha A SBOBNG-PTIY/BBN" userId="5bc8d3e6-8db9-4072-96f9-9078288621f9" providerId="ADAL" clId="{3788ED26-A52C-4AAB-9258-3709E793CC0D}" dt="2024-09-06T11:31:09.257" v="539" actId="478"/>
          <ac:picMkLst>
            <pc:docMk/>
            <pc:sldMk cId="245881457" sldId="2147375597"/>
            <ac:picMk id="5" creationId="{AC5BAA2F-0A73-1D90-55CB-9CB41B95AB84}"/>
          </ac:picMkLst>
        </pc:picChg>
        <pc:picChg chg="add mod">
          <ac:chgData name="Shygen, Neha A SBOBNG-PTIY/BBN" userId="5bc8d3e6-8db9-4072-96f9-9078288621f9" providerId="ADAL" clId="{3788ED26-A52C-4AAB-9258-3709E793CC0D}" dt="2024-09-06T12:12:45.799" v="3682" actId="1076"/>
          <ac:picMkLst>
            <pc:docMk/>
            <pc:sldMk cId="245881457" sldId="2147375597"/>
            <ac:picMk id="3074" creationId="{716F7419-5A0A-998D-7279-693D68920AD4}"/>
          </ac:picMkLst>
        </pc:picChg>
        <pc:picChg chg="add mod">
          <ac:chgData name="Shygen, Neha A SBOBNG-PTIY/BBN" userId="5bc8d3e6-8db9-4072-96f9-9078288621f9" providerId="ADAL" clId="{3788ED26-A52C-4AAB-9258-3709E793CC0D}" dt="2024-09-06T12:12:56.813" v="3686" actId="1076"/>
          <ac:picMkLst>
            <pc:docMk/>
            <pc:sldMk cId="245881457" sldId="2147375597"/>
            <ac:picMk id="3076" creationId="{B829E2B0-DD84-8AB9-8385-9D399B9E1821}"/>
          </ac:picMkLst>
        </pc:picChg>
      </pc:sldChg>
      <pc:sldChg chg="addSp delSp modSp mod">
        <pc:chgData name="Shygen, Neha A SBOBNG-PTIY/BBN" userId="5bc8d3e6-8db9-4072-96f9-9078288621f9" providerId="ADAL" clId="{3788ED26-A52C-4AAB-9258-3709E793CC0D}" dt="2024-09-06T12:14:23.193" v="3690" actId="1076"/>
        <pc:sldMkLst>
          <pc:docMk/>
          <pc:sldMk cId="1181112711" sldId="2147375600"/>
        </pc:sldMkLst>
        <pc:spChg chg="mod">
          <ac:chgData name="Shygen, Neha A SBOBNG-PTIY/BBN" userId="5bc8d3e6-8db9-4072-96f9-9078288621f9" providerId="ADAL" clId="{3788ED26-A52C-4AAB-9258-3709E793CC0D}" dt="2024-09-06T11:33:03.439" v="565" actId="20577"/>
          <ac:spMkLst>
            <pc:docMk/>
            <pc:sldMk cId="1181112711" sldId="2147375600"/>
            <ac:spMk id="3" creationId="{CEA128C4-A0BC-A895-713C-306E7FF62894}"/>
          </ac:spMkLst>
        </pc:spChg>
        <pc:spChg chg="mod">
          <ac:chgData name="Shygen, Neha A SBOBNG-PTIY/BBN" userId="5bc8d3e6-8db9-4072-96f9-9078288621f9" providerId="ADAL" clId="{3788ED26-A52C-4AAB-9258-3709E793CC0D}" dt="2024-09-06T11:45:27.512" v="1164" actId="5793"/>
          <ac:spMkLst>
            <pc:docMk/>
            <pc:sldMk cId="1181112711" sldId="2147375600"/>
            <ac:spMk id="11" creationId="{DE9F1BE0-7910-FA1B-DCE8-56EFD1E4FC09}"/>
          </ac:spMkLst>
        </pc:spChg>
        <pc:spChg chg="mod">
          <ac:chgData name="Shygen, Neha A SBOBNG-PTIY/BBN" userId="5bc8d3e6-8db9-4072-96f9-9078288621f9" providerId="ADAL" clId="{3788ED26-A52C-4AAB-9258-3709E793CC0D}" dt="2024-09-06T12:14:18.903" v="3689" actId="1076"/>
          <ac:spMkLst>
            <pc:docMk/>
            <pc:sldMk cId="1181112711" sldId="2147375600"/>
            <ac:spMk id="12" creationId="{E53E5C3F-4D2B-B85F-E592-E58E032C664C}"/>
          </ac:spMkLst>
        </pc:spChg>
        <pc:picChg chg="del">
          <ac:chgData name="Shygen, Neha A SBOBNG-PTIY/BBN" userId="5bc8d3e6-8db9-4072-96f9-9078288621f9" providerId="ADAL" clId="{3788ED26-A52C-4AAB-9258-3709E793CC0D}" dt="2024-09-06T11:39:17.831" v="1150" actId="478"/>
          <ac:picMkLst>
            <pc:docMk/>
            <pc:sldMk cId="1181112711" sldId="2147375600"/>
            <ac:picMk id="5" creationId="{6C88A94F-2992-3E37-71FD-9E097C350782}"/>
          </ac:picMkLst>
        </pc:picChg>
        <pc:picChg chg="add mod">
          <ac:chgData name="Shygen, Neha A SBOBNG-PTIY/BBN" userId="5bc8d3e6-8db9-4072-96f9-9078288621f9" providerId="ADAL" clId="{3788ED26-A52C-4AAB-9258-3709E793CC0D}" dt="2024-09-06T12:14:23.193" v="3690" actId="1076"/>
          <ac:picMkLst>
            <pc:docMk/>
            <pc:sldMk cId="1181112711" sldId="2147375600"/>
            <ac:picMk id="4098" creationId="{C538A686-6455-20E8-12C5-3D37A0D6FA91}"/>
          </ac:picMkLst>
        </pc:picChg>
      </pc:sldChg>
      <pc:sldChg chg="addSp delSp modSp mod">
        <pc:chgData name="Shygen, Neha A SBOBNG-PTIY/BBN" userId="5bc8d3e6-8db9-4072-96f9-9078288621f9" providerId="ADAL" clId="{3788ED26-A52C-4AAB-9258-3709E793CC0D}" dt="2024-09-06T12:15:42.518" v="3701" actId="1076"/>
        <pc:sldMkLst>
          <pc:docMk/>
          <pc:sldMk cId="3971512377" sldId="2147375603"/>
        </pc:sldMkLst>
        <pc:spChg chg="mod">
          <ac:chgData name="Shygen, Neha A SBOBNG-PTIY/BBN" userId="5bc8d3e6-8db9-4072-96f9-9078288621f9" providerId="ADAL" clId="{3788ED26-A52C-4AAB-9258-3709E793CC0D}" dt="2024-09-06T11:51:42.209" v="1548"/>
          <ac:spMkLst>
            <pc:docMk/>
            <pc:sldMk cId="3971512377" sldId="2147375603"/>
            <ac:spMk id="3" creationId="{CEA128C4-A0BC-A895-713C-306E7FF62894}"/>
          </ac:spMkLst>
        </pc:spChg>
        <pc:spChg chg="mod">
          <ac:chgData name="Shygen, Neha A SBOBNG-PTIY/BBN" userId="5bc8d3e6-8db9-4072-96f9-9078288621f9" providerId="ADAL" clId="{3788ED26-A52C-4AAB-9258-3709E793CC0D}" dt="2024-09-06T11:54:16.817" v="1785" actId="20577"/>
          <ac:spMkLst>
            <pc:docMk/>
            <pc:sldMk cId="3971512377" sldId="2147375603"/>
            <ac:spMk id="11" creationId="{DE9F1BE0-7910-FA1B-DCE8-56EFD1E4FC09}"/>
          </ac:spMkLst>
        </pc:spChg>
        <pc:spChg chg="mod">
          <ac:chgData name="Shygen, Neha A SBOBNG-PTIY/BBN" userId="5bc8d3e6-8db9-4072-96f9-9078288621f9" providerId="ADAL" clId="{3788ED26-A52C-4AAB-9258-3709E793CC0D}" dt="2024-09-06T12:15:35.201" v="3698" actId="1076"/>
          <ac:spMkLst>
            <pc:docMk/>
            <pc:sldMk cId="3971512377" sldId="2147375603"/>
            <ac:spMk id="12" creationId="{E53E5C3F-4D2B-B85F-E592-E58E032C664C}"/>
          </ac:spMkLst>
        </pc:spChg>
        <pc:picChg chg="del">
          <ac:chgData name="Shygen, Neha A SBOBNG-PTIY/BBN" userId="5bc8d3e6-8db9-4072-96f9-9078288621f9" providerId="ADAL" clId="{3788ED26-A52C-4AAB-9258-3709E793CC0D}" dt="2024-09-06T11:56:00.177" v="1990" actId="478"/>
          <ac:picMkLst>
            <pc:docMk/>
            <pc:sldMk cId="3971512377" sldId="2147375603"/>
            <ac:picMk id="9" creationId="{CC06F0D2-3E2E-9102-1DDD-C0E0E3989F6D}"/>
          </ac:picMkLst>
        </pc:picChg>
        <pc:picChg chg="add mod">
          <ac:chgData name="Shygen, Neha A SBOBNG-PTIY/BBN" userId="5bc8d3e6-8db9-4072-96f9-9078288621f9" providerId="ADAL" clId="{3788ED26-A52C-4AAB-9258-3709E793CC0D}" dt="2024-09-06T12:15:42.518" v="3701" actId="1076"/>
          <ac:picMkLst>
            <pc:docMk/>
            <pc:sldMk cId="3971512377" sldId="2147375603"/>
            <ac:picMk id="6146" creationId="{59FF346E-A7EB-A9B5-FC93-D8008BECB48C}"/>
          </ac:picMkLst>
        </pc:picChg>
      </pc:sldChg>
      <pc:sldChg chg="addSp delSp modSp mod">
        <pc:chgData name="Shygen, Neha A SBOBNG-PTIY/BBN" userId="5bc8d3e6-8db9-4072-96f9-9078288621f9" providerId="ADAL" clId="{3788ED26-A52C-4AAB-9258-3709E793CC0D}" dt="2024-09-06T12:28:43.964" v="3766" actId="1076"/>
        <pc:sldMkLst>
          <pc:docMk/>
          <pc:sldMk cId="3179805674" sldId="2147375604"/>
        </pc:sldMkLst>
        <pc:spChg chg="mod">
          <ac:chgData name="Shygen, Neha A SBOBNG-PTIY/BBN" userId="5bc8d3e6-8db9-4072-96f9-9078288621f9" providerId="ADAL" clId="{3788ED26-A52C-4AAB-9258-3709E793CC0D}" dt="2024-09-06T11:52:02.708" v="1555"/>
          <ac:spMkLst>
            <pc:docMk/>
            <pc:sldMk cId="3179805674" sldId="2147375604"/>
            <ac:spMk id="3" creationId="{CEA128C4-A0BC-A895-713C-306E7FF62894}"/>
          </ac:spMkLst>
        </pc:spChg>
        <pc:spChg chg="mod">
          <ac:chgData name="Shygen, Neha A SBOBNG-PTIY/BBN" userId="5bc8d3e6-8db9-4072-96f9-9078288621f9" providerId="ADAL" clId="{3788ED26-A52C-4AAB-9258-3709E793CC0D}" dt="2024-09-06T11:55:54.869" v="1988" actId="20577"/>
          <ac:spMkLst>
            <pc:docMk/>
            <pc:sldMk cId="3179805674" sldId="2147375604"/>
            <ac:spMk id="11" creationId="{DE9F1BE0-7910-FA1B-DCE8-56EFD1E4FC09}"/>
          </ac:spMkLst>
        </pc:spChg>
        <pc:spChg chg="mod">
          <ac:chgData name="Shygen, Neha A SBOBNG-PTIY/BBN" userId="5bc8d3e6-8db9-4072-96f9-9078288621f9" providerId="ADAL" clId="{3788ED26-A52C-4AAB-9258-3709E793CC0D}" dt="2024-09-06T12:27:07.303" v="3758" actId="1076"/>
          <ac:spMkLst>
            <pc:docMk/>
            <pc:sldMk cId="3179805674" sldId="2147375604"/>
            <ac:spMk id="12" creationId="{E53E5C3F-4D2B-B85F-E592-E58E032C664C}"/>
          </ac:spMkLst>
        </pc:spChg>
        <pc:picChg chg="del">
          <ac:chgData name="Shygen, Neha A SBOBNG-PTIY/BBN" userId="5bc8d3e6-8db9-4072-96f9-9078288621f9" providerId="ADAL" clId="{3788ED26-A52C-4AAB-9258-3709E793CC0D}" dt="2024-09-06T11:55:57.310" v="1989" actId="478"/>
          <ac:picMkLst>
            <pc:docMk/>
            <pc:sldMk cId="3179805674" sldId="2147375604"/>
            <ac:picMk id="9" creationId="{E7F48A5A-4E4A-60F7-7329-AD09FE615932}"/>
          </ac:picMkLst>
        </pc:picChg>
        <pc:picChg chg="add del mod">
          <ac:chgData name="Shygen, Neha A SBOBNG-PTIY/BBN" userId="5bc8d3e6-8db9-4072-96f9-9078288621f9" providerId="ADAL" clId="{3788ED26-A52C-4AAB-9258-3709E793CC0D}" dt="2024-09-06T12:24:24.335" v="3747" actId="478"/>
          <ac:picMkLst>
            <pc:docMk/>
            <pc:sldMk cId="3179805674" sldId="2147375604"/>
            <ac:picMk id="9218" creationId="{7D7F9784-B830-CABA-BEEC-F8B6095B53BF}"/>
          </ac:picMkLst>
        </pc:picChg>
        <pc:picChg chg="add del mod">
          <ac:chgData name="Shygen, Neha A SBOBNG-PTIY/BBN" userId="5bc8d3e6-8db9-4072-96f9-9078288621f9" providerId="ADAL" clId="{3788ED26-A52C-4AAB-9258-3709E793CC0D}" dt="2024-09-06T12:28:35.078" v="3762" actId="478"/>
          <ac:picMkLst>
            <pc:docMk/>
            <pc:sldMk cId="3179805674" sldId="2147375604"/>
            <ac:picMk id="9220" creationId="{EF86A262-5FAB-B7CA-BA10-E0ACE168FE2C}"/>
          </ac:picMkLst>
        </pc:picChg>
        <pc:picChg chg="add mod">
          <ac:chgData name="Shygen, Neha A SBOBNG-PTIY/BBN" userId="5bc8d3e6-8db9-4072-96f9-9078288621f9" providerId="ADAL" clId="{3788ED26-A52C-4AAB-9258-3709E793CC0D}" dt="2024-09-06T12:28:43.964" v="3766" actId="1076"/>
          <ac:picMkLst>
            <pc:docMk/>
            <pc:sldMk cId="3179805674" sldId="2147375604"/>
            <ac:picMk id="9222" creationId="{AB30F8B6-6A3C-4010-3550-40CACF94A678}"/>
          </ac:picMkLst>
        </pc:picChg>
      </pc:sldChg>
      <pc:sldChg chg="addSp delSp modSp mod">
        <pc:chgData name="Shygen, Neha A SBOBNG-PTIY/BBN" userId="5bc8d3e6-8db9-4072-96f9-9078288621f9" providerId="ADAL" clId="{3788ED26-A52C-4AAB-9258-3709E793CC0D}" dt="2024-09-06T12:24:27.363" v="3748"/>
        <pc:sldMkLst>
          <pc:docMk/>
          <pc:sldMk cId="86366928" sldId="2147375605"/>
        </pc:sldMkLst>
        <pc:spChg chg="mod">
          <ac:chgData name="Shygen, Neha A SBOBNG-PTIY/BBN" userId="5bc8d3e6-8db9-4072-96f9-9078288621f9" providerId="ADAL" clId="{3788ED26-A52C-4AAB-9258-3709E793CC0D}" dt="2024-09-06T11:52:22.950" v="1564"/>
          <ac:spMkLst>
            <pc:docMk/>
            <pc:sldMk cId="86366928" sldId="2147375605"/>
            <ac:spMk id="3" creationId="{CEA128C4-A0BC-A895-713C-306E7FF62894}"/>
          </ac:spMkLst>
        </pc:spChg>
        <pc:spChg chg="mod">
          <ac:chgData name="Shygen, Neha A SBOBNG-PTIY/BBN" userId="5bc8d3e6-8db9-4072-96f9-9078288621f9" providerId="ADAL" clId="{3788ED26-A52C-4AAB-9258-3709E793CC0D}" dt="2024-09-06T11:57:46.806" v="2252" actId="20577"/>
          <ac:spMkLst>
            <pc:docMk/>
            <pc:sldMk cId="86366928" sldId="2147375605"/>
            <ac:spMk id="11" creationId="{DE9F1BE0-7910-FA1B-DCE8-56EFD1E4FC09}"/>
          </ac:spMkLst>
        </pc:spChg>
        <pc:picChg chg="del">
          <ac:chgData name="Shygen, Neha A SBOBNG-PTIY/BBN" userId="5bc8d3e6-8db9-4072-96f9-9078288621f9" providerId="ADAL" clId="{3788ED26-A52C-4AAB-9258-3709E793CC0D}" dt="2024-09-06T11:57:54.758" v="2253" actId="478"/>
          <ac:picMkLst>
            <pc:docMk/>
            <pc:sldMk cId="86366928" sldId="2147375605"/>
            <ac:picMk id="2" creationId="{AEAFA4E4-9A5A-5911-EBB2-92C0D11D1684}"/>
          </ac:picMkLst>
        </pc:picChg>
        <pc:picChg chg="add mod">
          <ac:chgData name="Shygen, Neha A SBOBNG-PTIY/BBN" userId="5bc8d3e6-8db9-4072-96f9-9078288621f9" providerId="ADAL" clId="{3788ED26-A52C-4AAB-9258-3709E793CC0D}" dt="2024-09-06T12:24:27.363" v="3748"/>
          <ac:picMkLst>
            <pc:docMk/>
            <pc:sldMk cId="86366928" sldId="2147375605"/>
            <ac:picMk id="6" creationId="{86812A94-43A3-2C78-9661-77B99B446042}"/>
          </ac:picMkLst>
        </pc:picChg>
      </pc:sldChg>
      <pc:sldChg chg="addSp delSp modSp mod">
        <pc:chgData name="Shygen, Neha A SBOBNG-PTIY/BBN" userId="5bc8d3e6-8db9-4072-96f9-9078288621f9" providerId="ADAL" clId="{3788ED26-A52C-4AAB-9258-3709E793CC0D}" dt="2024-09-06T12:17:49.059" v="3717" actId="1076"/>
        <pc:sldMkLst>
          <pc:docMk/>
          <pc:sldMk cId="2340944189" sldId="2147375607"/>
        </pc:sldMkLst>
        <pc:spChg chg="mod">
          <ac:chgData name="Shygen, Neha A SBOBNG-PTIY/BBN" userId="5bc8d3e6-8db9-4072-96f9-9078288621f9" providerId="ADAL" clId="{3788ED26-A52C-4AAB-9258-3709E793CC0D}" dt="2024-09-06T12:17:42.663" v="3715" actId="14100"/>
          <ac:spMkLst>
            <pc:docMk/>
            <pc:sldMk cId="2340944189" sldId="2147375607"/>
            <ac:spMk id="11" creationId="{DE9F1BE0-7910-FA1B-DCE8-56EFD1E4FC09}"/>
          </ac:spMkLst>
        </pc:spChg>
        <pc:spChg chg="mod">
          <ac:chgData name="Shygen, Neha A SBOBNG-PTIY/BBN" userId="5bc8d3e6-8db9-4072-96f9-9078288621f9" providerId="ADAL" clId="{3788ED26-A52C-4AAB-9258-3709E793CC0D}" dt="2024-09-06T12:17:47.229" v="3716" actId="14100"/>
          <ac:spMkLst>
            <pc:docMk/>
            <pc:sldMk cId="2340944189" sldId="2147375607"/>
            <ac:spMk id="12" creationId="{E53E5C3F-4D2B-B85F-E592-E58E032C664C}"/>
          </ac:spMkLst>
        </pc:spChg>
        <pc:picChg chg="del">
          <ac:chgData name="Shygen, Neha A SBOBNG-PTIY/BBN" userId="5bc8d3e6-8db9-4072-96f9-9078288621f9" providerId="ADAL" clId="{3788ED26-A52C-4AAB-9258-3709E793CC0D}" dt="2024-09-06T12:00:06.100" v="2438" actId="478"/>
          <ac:picMkLst>
            <pc:docMk/>
            <pc:sldMk cId="2340944189" sldId="2147375607"/>
            <ac:picMk id="5" creationId="{00ABB84D-01E2-1E5D-DC53-941B73B59CE2}"/>
          </ac:picMkLst>
        </pc:picChg>
        <pc:picChg chg="add mod">
          <ac:chgData name="Shygen, Neha A SBOBNG-PTIY/BBN" userId="5bc8d3e6-8db9-4072-96f9-9078288621f9" providerId="ADAL" clId="{3788ED26-A52C-4AAB-9258-3709E793CC0D}" dt="2024-09-06T12:17:49.059" v="3717" actId="1076"/>
          <ac:picMkLst>
            <pc:docMk/>
            <pc:sldMk cId="2340944189" sldId="2147375607"/>
            <ac:picMk id="6" creationId="{1D77FBAF-DBAE-3517-CCBD-AF147E59C11D}"/>
          </ac:picMkLst>
        </pc:picChg>
      </pc:sldChg>
      <pc:sldChg chg="addSp delSp modSp mod">
        <pc:chgData name="Shygen, Neha A SBOBNG-PTIY/BBN" userId="5bc8d3e6-8db9-4072-96f9-9078288621f9" providerId="ADAL" clId="{3788ED26-A52C-4AAB-9258-3709E793CC0D}" dt="2024-09-06T12:17:02.798" v="3712" actId="1076"/>
        <pc:sldMkLst>
          <pc:docMk/>
          <pc:sldMk cId="3159148252" sldId="2147375608"/>
        </pc:sldMkLst>
        <pc:spChg chg="mod">
          <ac:chgData name="Shygen, Neha A SBOBNG-PTIY/BBN" userId="5bc8d3e6-8db9-4072-96f9-9078288621f9" providerId="ADAL" clId="{3788ED26-A52C-4AAB-9258-3709E793CC0D}" dt="2024-09-06T12:16:49.332" v="3706" actId="14100"/>
          <ac:spMkLst>
            <pc:docMk/>
            <pc:sldMk cId="3159148252" sldId="2147375608"/>
            <ac:spMk id="11" creationId="{DE9F1BE0-7910-FA1B-DCE8-56EFD1E4FC09}"/>
          </ac:spMkLst>
        </pc:spChg>
        <pc:spChg chg="mod">
          <ac:chgData name="Shygen, Neha A SBOBNG-PTIY/BBN" userId="5bc8d3e6-8db9-4072-96f9-9078288621f9" providerId="ADAL" clId="{3788ED26-A52C-4AAB-9258-3709E793CC0D}" dt="2024-09-06T12:16:54.273" v="3707" actId="14100"/>
          <ac:spMkLst>
            <pc:docMk/>
            <pc:sldMk cId="3159148252" sldId="2147375608"/>
            <ac:spMk id="12" creationId="{E53E5C3F-4D2B-B85F-E592-E58E032C664C}"/>
          </ac:spMkLst>
        </pc:spChg>
        <pc:picChg chg="del">
          <ac:chgData name="Shygen, Neha A SBOBNG-PTIY/BBN" userId="5bc8d3e6-8db9-4072-96f9-9078288621f9" providerId="ADAL" clId="{3788ED26-A52C-4AAB-9258-3709E793CC0D}" dt="2024-09-06T12:01:45.490" v="2603" actId="478"/>
          <ac:picMkLst>
            <pc:docMk/>
            <pc:sldMk cId="3159148252" sldId="2147375608"/>
            <ac:picMk id="5" creationId="{72CDB5AA-0438-5C20-C4DA-CB1431B92EFA}"/>
          </ac:picMkLst>
        </pc:picChg>
        <pc:picChg chg="add mod">
          <ac:chgData name="Shygen, Neha A SBOBNG-PTIY/BBN" userId="5bc8d3e6-8db9-4072-96f9-9078288621f9" providerId="ADAL" clId="{3788ED26-A52C-4AAB-9258-3709E793CC0D}" dt="2024-09-06T12:17:02.798" v="3712" actId="1076"/>
          <ac:picMkLst>
            <pc:docMk/>
            <pc:sldMk cId="3159148252" sldId="2147375608"/>
            <ac:picMk id="6" creationId="{827CBF84-7EA7-BE66-C213-6C619685CD06}"/>
          </ac:picMkLst>
        </pc:picChg>
      </pc:sldChg>
      <pc:sldChg chg="addSp delSp modSp mod">
        <pc:chgData name="Shygen, Neha A SBOBNG-PTIY/BBN" userId="5bc8d3e6-8db9-4072-96f9-9078288621f9" providerId="ADAL" clId="{3788ED26-A52C-4AAB-9258-3709E793CC0D}" dt="2024-09-06T12:19:16.353" v="3732" actId="14100"/>
        <pc:sldMkLst>
          <pc:docMk/>
          <pc:sldMk cId="3070204084" sldId="2147375609"/>
        </pc:sldMkLst>
        <pc:spChg chg="mod">
          <ac:chgData name="Shygen, Neha A SBOBNG-PTIY/BBN" userId="5bc8d3e6-8db9-4072-96f9-9078288621f9" providerId="ADAL" clId="{3788ED26-A52C-4AAB-9258-3709E793CC0D}" dt="2024-09-06T12:05:00.794" v="3017" actId="20577"/>
          <ac:spMkLst>
            <pc:docMk/>
            <pc:sldMk cId="3070204084" sldId="2147375609"/>
            <ac:spMk id="11" creationId="{DE9F1BE0-7910-FA1B-DCE8-56EFD1E4FC09}"/>
          </ac:spMkLst>
        </pc:spChg>
        <pc:spChg chg="mod">
          <ac:chgData name="Shygen, Neha A SBOBNG-PTIY/BBN" userId="5bc8d3e6-8db9-4072-96f9-9078288621f9" providerId="ADAL" clId="{3788ED26-A52C-4AAB-9258-3709E793CC0D}" dt="2024-09-06T12:19:16.353" v="3732" actId="14100"/>
          <ac:spMkLst>
            <pc:docMk/>
            <pc:sldMk cId="3070204084" sldId="2147375609"/>
            <ac:spMk id="12" creationId="{E53E5C3F-4D2B-B85F-E592-E58E032C664C}"/>
          </ac:spMkLst>
        </pc:spChg>
        <pc:picChg chg="del">
          <ac:chgData name="Shygen, Neha A SBOBNG-PTIY/BBN" userId="5bc8d3e6-8db9-4072-96f9-9078288621f9" providerId="ADAL" clId="{3788ED26-A52C-4AAB-9258-3709E793CC0D}" dt="2024-09-06T12:03:10.717" v="2802" actId="478"/>
          <ac:picMkLst>
            <pc:docMk/>
            <pc:sldMk cId="3070204084" sldId="2147375609"/>
            <ac:picMk id="5" creationId="{BEA79D45-4117-2AF7-4FF2-C7F0FB1A14A7}"/>
          </ac:picMkLst>
        </pc:picChg>
        <pc:picChg chg="add mod">
          <ac:chgData name="Shygen, Neha A SBOBNG-PTIY/BBN" userId="5bc8d3e6-8db9-4072-96f9-9078288621f9" providerId="ADAL" clId="{3788ED26-A52C-4AAB-9258-3709E793CC0D}" dt="2024-09-06T12:19:03.558" v="3729" actId="1076"/>
          <ac:picMkLst>
            <pc:docMk/>
            <pc:sldMk cId="3070204084" sldId="2147375609"/>
            <ac:picMk id="8" creationId="{2569D221-D948-FBA9-CFF4-6BF0909F19CA}"/>
          </ac:picMkLst>
        </pc:picChg>
        <pc:picChg chg="add mod">
          <ac:chgData name="Shygen, Neha A SBOBNG-PTIY/BBN" userId="5bc8d3e6-8db9-4072-96f9-9078288621f9" providerId="ADAL" clId="{3788ED26-A52C-4AAB-9258-3709E793CC0D}" dt="2024-09-06T12:19:09.726" v="3731" actId="14100"/>
          <ac:picMkLst>
            <pc:docMk/>
            <pc:sldMk cId="3070204084" sldId="2147375609"/>
            <ac:picMk id="9" creationId="{86719757-4748-572A-334F-8C728527CC16}"/>
          </ac:picMkLst>
        </pc:picChg>
      </pc:sldChg>
      <pc:sldChg chg="modSp mod">
        <pc:chgData name="Shygen, Neha A SBOBNG-PTIY/BBN" userId="5bc8d3e6-8db9-4072-96f9-9078288621f9" providerId="ADAL" clId="{3788ED26-A52C-4AAB-9258-3709E793CC0D}" dt="2024-09-06T12:07:32.826" v="3309" actId="20577"/>
        <pc:sldMkLst>
          <pc:docMk/>
          <pc:sldMk cId="3754613224" sldId="2147375611"/>
        </pc:sldMkLst>
        <pc:spChg chg="mod">
          <ac:chgData name="Shygen, Neha A SBOBNG-PTIY/BBN" userId="5bc8d3e6-8db9-4072-96f9-9078288621f9" providerId="ADAL" clId="{3788ED26-A52C-4AAB-9258-3709E793CC0D}" dt="2024-09-06T12:07:01.957" v="3243" actId="20577"/>
          <ac:spMkLst>
            <pc:docMk/>
            <pc:sldMk cId="3754613224" sldId="2147375611"/>
            <ac:spMk id="18" creationId="{6C73795A-BE20-7075-E9C6-6F145CE60794}"/>
          </ac:spMkLst>
        </pc:spChg>
        <pc:spChg chg="mod">
          <ac:chgData name="Shygen, Neha A SBOBNG-PTIY/BBN" userId="5bc8d3e6-8db9-4072-96f9-9078288621f9" providerId="ADAL" clId="{3788ED26-A52C-4AAB-9258-3709E793CC0D}" dt="2024-09-06T12:07:32.826" v="3309" actId="20577"/>
          <ac:spMkLst>
            <pc:docMk/>
            <pc:sldMk cId="3754613224" sldId="2147375611"/>
            <ac:spMk id="20" creationId="{3EBEB0AC-D407-44FD-A74F-90F67F3D13C3}"/>
          </ac:spMkLst>
        </pc:spChg>
      </pc:sldChg>
      <pc:sldChg chg="addSp delSp modSp mod">
        <pc:chgData name="Shygen, Neha A SBOBNG-PTIY/BBN" userId="5bc8d3e6-8db9-4072-96f9-9078288621f9" providerId="ADAL" clId="{3788ED26-A52C-4AAB-9258-3709E793CC0D}" dt="2024-09-06T12:22:11.073" v="3742" actId="1076"/>
        <pc:sldMkLst>
          <pc:docMk/>
          <pc:sldMk cId="1148838763" sldId="2147375613"/>
        </pc:sldMkLst>
        <pc:spChg chg="mod">
          <ac:chgData name="Shygen, Neha A SBOBNG-PTIY/BBN" userId="5bc8d3e6-8db9-4072-96f9-9078288621f9" providerId="ADAL" clId="{3788ED26-A52C-4AAB-9258-3709E793CC0D}" dt="2024-09-06T12:08:46.345" v="3469" actId="20577"/>
          <ac:spMkLst>
            <pc:docMk/>
            <pc:sldMk cId="1148838763" sldId="2147375613"/>
            <ac:spMk id="11" creationId="{8CC1343B-2E39-FEFF-8FF6-46822F18B432}"/>
          </ac:spMkLst>
        </pc:spChg>
        <pc:picChg chg="del">
          <ac:chgData name="Shygen, Neha A SBOBNG-PTIY/BBN" userId="5bc8d3e6-8db9-4072-96f9-9078288621f9" providerId="ADAL" clId="{3788ED26-A52C-4AAB-9258-3709E793CC0D}" dt="2024-09-06T12:21:30.921" v="3740" actId="478"/>
          <ac:picMkLst>
            <pc:docMk/>
            <pc:sldMk cId="1148838763" sldId="2147375613"/>
            <ac:picMk id="6" creationId="{2E75524D-5B97-9162-6662-C8AF33904AC5}"/>
          </ac:picMkLst>
        </pc:picChg>
        <pc:picChg chg="add mod">
          <ac:chgData name="Shygen, Neha A SBOBNG-PTIY/BBN" userId="5bc8d3e6-8db9-4072-96f9-9078288621f9" providerId="ADAL" clId="{3788ED26-A52C-4AAB-9258-3709E793CC0D}" dt="2024-09-06T12:22:11.073" v="3742" actId="1076"/>
          <ac:picMkLst>
            <pc:docMk/>
            <pc:sldMk cId="1148838763" sldId="2147375613"/>
            <ac:picMk id="8194" creationId="{1805666F-A645-B8E6-D90E-1BCE344D2443}"/>
          </ac:picMkLst>
        </pc:picChg>
      </pc:sldChg>
      <pc:sldChg chg="modSp mod">
        <pc:chgData name="Shygen, Neha A SBOBNG-PTIY/BBN" userId="5bc8d3e6-8db9-4072-96f9-9078288621f9" providerId="ADAL" clId="{3788ED26-A52C-4AAB-9258-3709E793CC0D}" dt="2024-09-06T12:10:17.783" v="3614" actId="20577"/>
        <pc:sldMkLst>
          <pc:docMk/>
          <pc:sldMk cId="3865850111" sldId="2147375614"/>
        </pc:sldMkLst>
        <pc:spChg chg="mod">
          <ac:chgData name="Shygen, Neha A SBOBNG-PTIY/BBN" userId="5bc8d3e6-8db9-4072-96f9-9078288621f9" providerId="ADAL" clId="{3788ED26-A52C-4AAB-9258-3709E793CC0D}" dt="2024-09-06T12:10:17.783" v="3614" actId="20577"/>
          <ac:spMkLst>
            <pc:docMk/>
            <pc:sldMk cId="3865850111" sldId="2147375614"/>
            <ac:spMk id="6" creationId="{AC2F88D2-81D4-FAD4-568E-A3F495B06411}"/>
          </ac:spMkLst>
        </pc:spChg>
      </pc:sldChg>
      <pc:sldChg chg="addSp delSp modSp mod">
        <pc:chgData name="Shygen, Neha A SBOBNG-PTIY/BBN" userId="5bc8d3e6-8db9-4072-96f9-9078288621f9" providerId="ADAL" clId="{3788ED26-A52C-4AAB-9258-3709E793CC0D}" dt="2024-09-06T11:51:17.844" v="1537" actId="20577"/>
        <pc:sldMkLst>
          <pc:docMk/>
          <pc:sldMk cId="2407521804" sldId="2147375615"/>
        </pc:sldMkLst>
        <pc:spChg chg="mod">
          <ac:chgData name="Shygen, Neha A SBOBNG-PTIY/BBN" userId="5bc8d3e6-8db9-4072-96f9-9078288621f9" providerId="ADAL" clId="{3788ED26-A52C-4AAB-9258-3709E793CC0D}" dt="2024-09-06T11:48:53.920" v="1391" actId="20577"/>
          <ac:spMkLst>
            <pc:docMk/>
            <pc:sldMk cId="2407521804" sldId="2147375615"/>
            <ac:spMk id="3" creationId="{CEA128C4-A0BC-A895-713C-306E7FF62894}"/>
          </ac:spMkLst>
        </pc:spChg>
        <pc:spChg chg="mod">
          <ac:chgData name="Shygen, Neha A SBOBNG-PTIY/BBN" userId="5bc8d3e6-8db9-4072-96f9-9078288621f9" providerId="ADAL" clId="{3788ED26-A52C-4AAB-9258-3709E793CC0D}" dt="2024-09-06T11:51:17.844" v="1537" actId="20577"/>
          <ac:spMkLst>
            <pc:docMk/>
            <pc:sldMk cId="2407521804" sldId="2147375615"/>
            <ac:spMk id="11" creationId="{DE9F1BE0-7910-FA1B-DCE8-56EFD1E4FC09}"/>
          </ac:spMkLst>
        </pc:spChg>
        <pc:spChg chg="mod">
          <ac:chgData name="Shygen, Neha A SBOBNG-PTIY/BBN" userId="5bc8d3e6-8db9-4072-96f9-9078288621f9" providerId="ADAL" clId="{3788ED26-A52C-4AAB-9258-3709E793CC0D}" dt="2024-09-06T11:50:05.812" v="1396" actId="1076"/>
          <ac:spMkLst>
            <pc:docMk/>
            <pc:sldMk cId="2407521804" sldId="2147375615"/>
            <ac:spMk id="12" creationId="{E53E5C3F-4D2B-B85F-E592-E58E032C664C}"/>
          </ac:spMkLst>
        </pc:spChg>
        <pc:picChg chg="add mod">
          <ac:chgData name="Shygen, Neha A SBOBNG-PTIY/BBN" userId="5bc8d3e6-8db9-4072-96f9-9078288621f9" providerId="ADAL" clId="{3788ED26-A52C-4AAB-9258-3709E793CC0D}" dt="2024-09-06T11:50:05.812" v="1396" actId="1076"/>
          <ac:picMkLst>
            <pc:docMk/>
            <pc:sldMk cId="2407521804" sldId="2147375615"/>
            <ac:picMk id="1026" creationId="{8993AF74-047A-2971-007C-DB8B5D84EA1F}"/>
          </ac:picMkLst>
        </pc:picChg>
        <pc:picChg chg="add mod">
          <ac:chgData name="Shygen, Neha A SBOBNG-PTIY/BBN" userId="5bc8d3e6-8db9-4072-96f9-9078288621f9" providerId="ADAL" clId="{3788ED26-A52C-4AAB-9258-3709E793CC0D}" dt="2024-09-06T11:50:15.996" v="1400" actId="1076"/>
          <ac:picMkLst>
            <pc:docMk/>
            <pc:sldMk cId="2407521804" sldId="2147375615"/>
            <ac:picMk id="1028" creationId="{EFED4152-CEDC-7A90-7999-F67DE6B82C55}"/>
          </ac:picMkLst>
        </pc:picChg>
        <pc:picChg chg="del">
          <ac:chgData name="Shygen, Neha A SBOBNG-PTIY/BBN" userId="5bc8d3e6-8db9-4072-96f9-9078288621f9" providerId="ADAL" clId="{3788ED26-A52C-4AAB-9258-3709E793CC0D}" dt="2024-09-06T11:50:01.332" v="1393" actId="478"/>
          <ac:picMkLst>
            <pc:docMk/>
            <pc:sldMk cId="2407521804" sldId="2147375615"/>
            <ac:picMk id="2054" creationId="{0C4627A1-E5E1-200E-9871-B238876A2416}"/>
          </ac:picMkLst>
        </pc:picChg>
      </pc:sldChg>
      <pc:sldChg chg="addSp delSp modSp mod">
        <pc:chgData name="Shygen, Neha A SBOBNG-PTIY/BBN" userId="5bc8d3e6-8db9-4072-96f9-9078288621f9" providerId="ADAL" clId="{3788ED26-A52C-4AAB-9258-3709E793CC0D}" dt="2024-09-06T12:15:07.935" v="3695" actId="14100"/>
        <pc:sldMkLst>
          <pc:docMk/>
          <pc:sldMk cId="951608246" sldId="2147375617"/>
        </pc:sldMkLst>
        <pc:spChg chg="mod">
          <ac:chgData name="Shygen, Neha A SBOBNG-PTIY/BBN" userId="5bc8d3e6-8db9-4072-96f9-9078288621f9" providerId="ADAL" clId="{3788ED26-A52C-4AAB-9258-3709E793CC0D}" dt="2024-09-06T11:46:12.463" v="1232" actId="20577"/>
          <ac:spMkLst>
            <pc:docMk/>
            <pc:sldMk cId="951608246" sldId="2147375617"/>
            <ac:spMk id="3" creationId="{CEA128C4-A0BC-A895-713C-306E7FF62894}"/>
          </ac:spMkLst>
        </pc:spChg>
        <pc:spChg chg="mod">
          <ac:chgData name="Shygen, Neha A SBOBNG-PTIY/BBN" userId="5bc8d3e6-8db9-4072-96f9-9078288621f9" providerId="ADAL" clId="{3788ED26-A52C-4AAB-9258-3709E793CC0D}" dt="2024-09-06T11:47:03.739" v="1359" actId="20577"/>
          <ac:spMkLst>
            <pc:docMk/>
            <pc:sldMk cId="951608246" sldId="2147375617"/>
            <ac:spMk id="11" creationId="{DE9F1BE0-7910-FA1B-DCE8-56EFD1E4FC09}"/>
          </ac:spMkLst>
        </pc:spChg>
        <pc:spChg chg="mod">
          <ac:chgData name="Shygen, Neha A SBOBNG-PTIY/BBN" userId="5bc8d3e6-8db9-4072-96f9-9078288621f9" providerId="ADAL" clId="{3788ED26-A52C-4AAB-9258-3709E793CC0D}" dt="2024-09-06T12:15:02.227" v="3693" actId="1076"/>
          <ac:spMkLst>
            <pc:docMk/>
            <pc:sldMk cId="951608246" sldId="2147375617"/>
            <ac:spMk id="12" creationId="{E53E5C3F-4D2B-B85F-E592-E58E032C664C}"/>
          </ac:spMkLst>
        </pc:spChg>
        <pc:picChg chg="del">
          <ac:chgData name="Shygen, Neha A SBOBNG-PTIY/BBN" userId="5bc8d3e6-8db9-4072-96f9-9078288621f9" providerId="ADAL" clId="{3788ED26-A52C-4AAB-9258-3709E793CC0D}" dt="2024-09-06T11:48:31.743" v="1360" actId="478"/>
          <ac:picMkLst>
            <pc:docMk/>
            <pc:sldMk cId="951608246" sldId="2147375617"/>
            <ac:picMk id="8" creationId="{6ADE1D2E-D90D-392B-67B0-F83F45331BB0}"/>
          </ac:picMkLst>
        </pc:picChg>
        <pc:picChg chg="add mod">
          <ac:chgData name="Shygen, Neha A SBOBNG-PTIY/BBN" userId="5bc8d3e6-8db9-4072-96f9-9078288621f9" providerId="ADAL" clId="{3788ED26-A52C-4AAB-9258-3709E793CC0D}" dt="2024-09-06T12:15:07.935" v="3695" actId="14100"/>
          <ac:picMkLst>
            <pc:docMk/>
            <pc:sldMk cId="951608246" sldId="2147375617"/>
            <ac:picMk id="5122" creationId="{06F42B64-3118-D8D3-3CD1-156049301583}"/>
          </ac:picMkLst>
        </pc:picChg>
      </pc:sldChg>
      <pc:sldChg chg="addSp delSp modSp mod">
        <pc:chgData name="Shygen, Neha A SBOBNG-PTIY/BBN" userId="5bc8d3e6-8db9-4072-96f9-9078288621f9" providerId="ADAL" clId="{3788ED26-A52C-4AAB-9258-3709E793CC0D}" dt="2024-09-06T12:25:35.947" v="3755" actId="1076"/>
        <pc:sldMkLst>
          <pc:docMk/>
          <pc:sldMk cId="70754927" sldId="2147375618"/>
        </pc:sldMkLst>
        <pc:spChg chg="mod">
          <ac:chgData name="Shygen, Neha A SBOBNG-PTIY/BBN" userId="5bc8d3e6-8db9-4072-96f9-9078288621f9" providerId="ADAL" clId="{3788ED26-A52C-4AAB-9258-3709E793CC0D}" dt="2024-09-06T11:52:41.117" v="1570"/>
          <ac:spMkLst>
            <pc:docMk/>
            <pc:sldMk cId="70754927" sldId="2147375618"/>
            <ac:spMk id="3" creationId="{CEA128C4-A0BC-A895-713C-306E7FF62894}"/>
          </ac:spMkLst>
        </pc:spChg>
        <pc:spChg chg="mod">
          <ac:chgData name="Shygen, Neha A SBOBNG-PTIY/BBN" userId="5bc8d3e6-8db9-4072-96f9-9078288621f9" providerId="ADAL" clId="{3788ED26-A52C-4AAB-9258-3709E793CC0D}" dt="2024-09-06T12:25:27.700" v="3751" actId="14100"/>
          <ac:spMkLst>
            <pc:docMk/>
            <pc:sldMk cId="70754927" sldId="2147375618"/>
            <ac:spMk id="11" creationId="{DE9F1BE0-7910-FA1B-DCE8-56EFD1E4FC09}"/>
          </ac:spMkLst>
        </pc:spChg>
        <pc:spChg chg="mod">
          <ac:chgData name="Shygen, Neha A SBOBNG-PTIY/BBN" userId="5bc8d3e6-8db9-4072-96f9-9078288621f9" providerId="ADAL" clId="{3788ED26-A52C-4AAB-9258-3709E793CC0D}" dt="2024-09-06T12:25:30.526" v="3752" actId="14100"/>
          <ac:spMkLst>
            <pc:docMk/>
            <pc:sldMk cId="70754927" sldId="2147375618"/>
            <ac:spMk id="12" creationId="{E53E5C3F-4D2B-B85F-E592-E58E032C664C}"/>
          </ac:spMkLst>
        </pc:spChg>
        <pc:picChg chg="del">
          <ac:chgData name="Shygen, Neha A SBOBNG-PTIY/BBN" userId="5bc8d3e6-8db9-4072-96f9-9078288621f9" providerId="ADAL" clId="{3788ED26-A52C-4AAB-9258-3709E793CC0D}" dt="2024-09-06T11:59:52.533" v="2435" actId="478"/>
          <ac:picMkLst>
            <pc:docMk/>
            <pc:sldMk cId="70754927" sldId="2147375618"/>
            <ac:picMk id="6" creationId="{C92CE0F9-173C-7721-7AE1-262B7F44CE8A}"/>
          </ac:picMkLst>
        </pc:picChg>
        <pc:picChg chg="add mod">
          <ac:chgData name="Shygen, Neha A SBOBNG-PTIY/BBN" userId="5bc8d3e6-8db9-4072-96f9-9078288621f9" providerId="ADAL" clId="{3788ED26-A52C-4AAB-9258-3709E793CC0D}" dt="2024-09-06T12:25:35.947" v="3755" actId="1076"/>
          <ac:picMkLst>
            <pc:docMk/>
            <pc:sldMk cId="70754927" sldId="2147375618"/>
            <ac:picMk id="8" creationId="{E9A4FF46-194F-3C82-CFAD-4AF6AB7E0466}"/>
          </ac:picMkLst>
        </pc:picChg>
        <pc:picChg chg="del">
          <ac:chgData name="Shygen, Neha A SBOBNG-PTIY/BBN" userId="5bc8d3e6-8db9-4072-96f9-9078288621f9" providerId="ADAL" clId="{3788ED26-A52C-4AAB-9258-3709E793CC0D}" dt="2024-09-06T11:59:54.380" v="2436" actId="478"/>
          <ac:picMkLst>
            <pc:docMk/>
            <pc:sldMk cId="70754927" sldId="2147375618"/>
            <ac:picMk id="9" creationId="{9697A9FE-82FA-F21D-C6F1-3AA44166878E}"/>
          </ac:picMkLst>
        </pc:picChg>
      </pc:sldChg>
      <pc:sldChg chg="addSp delSp modSp mod">
        <pc:chgData name="Shygen, Neha A SBOBNG-PTIY/BBN" userId="5bc8d3e6-8db9-4072-96f9-9078288621f9" providerId="ADAL" clId="{3788ED26-A52C-4AAB-9258-3709E793CC0D}" dt="2024-09-06T12:21:22.472" v="3739" actId="14100"/>
        <pc:sldMkLst>
          <pc:docMk/>
          <pc:sldMk cId="2768527952" sldId="2147375619"/>
        </pc:sldMkLst>
        <pc:spChg chg="mod">
          <ac:chgData name="Shygen, Neha A SBOBNG-PTIY/BBN" userId="5bc8d3e6-8db9-4072-96f9-9078288621f9" providerId="ADAL" clId="{3788ED26-A52C-4AAB-9258-3709E793CC0D}" dt="2024-09-06T12:05:49.100" v="3160" actId="20577"/>
          <ac:spMkLst>
            <pc:docMk/>
            <pc:sldMk cId="2768527952" sldId="2147375619"/>
            <ac:spMk id="11" creationId="{DE9F1BE0-7910-FA1B-DCE8-56EFD1E4FC09}"/>
          </ac:spMkLst>
        </pc:spChg>
        <pc:spChg chg="mod">
          <ac:chgData name="Shygen, Neha A SBOBNG-PTIY/BBN" userId="5bc8d3e6-8db9-4072-96f9-9078288621f9" providerId="ADAL" clId="{3788ED26-A52C-4AAB-9258-3709E793CC0D}" dt="2024-09-06T12:21:14.785" v="3737" actId="1076"/>
          <ac:spMkLst>
            <pc:docMk/>
            <pc:sldMk cId="2768527952" sldId="2147375619"/>
            <ac:spMk id="12" creationId="{E53E5C3F-4D2B-B85F-E592-E58E032C664C}"/>
          </ac:spMkLst>
        </pc:spChg>
        <pc:picChg chg="add mod">
          <ac:chgData name="Shygen, Neha A SBOBNG-PTIY/BBN" userId="5bc8d3e6-8db9-4072-96f9-9078288621f9" providerId="ADAL" clId="{3788ED26-A52C-4AAB-9258-3709E793CC0D}" dt="2024-09-06T12:21:22.472" v="3739" actId="14100"/>
          <ac:picMkLst>
            <pc:docMk/>
            <pc:sldMk cId="2768527952" sldId="2147375619"/>
            <ac:picMk id="6" creationId="{0A33FD65-2F14-9568-1C90-928F3294B1A5}"/>
          </ac:picMkLst>
        </pc:picChg>
        <pc:picChg chg="del">
          <ac:chgData name="Shygen, Neha A SBOBNG-PTIY/BBN" userId="5bc8d3e6-8db9-4072-96f9-9078288621f9" providerId="ADAL" clId="{3788ED26-A52C-4AAB-9258-3709E793CC0D}" dt="2024-09-06T12:05:05.257" v="3018" actId="478"/>
          <ac:picMkLst>
            <pc:docMk/>
            <pc:sldMk cId="2768527952" sldId="2147375619"/>
            <ac:picMk id="9" creationId="{749EC07E-EE04-B38E-F23F-4D464D43865C}"/>
          </ac:picMkLst>
        </pc:picChg>
        <pc:picChg chg="add mod">
          <ac:chgData name="Shygen, Neha A SBOBNG-PTIY/BBN" userId="5bc8d3e6-8db9-4072-96f9-9078288621f9" providerId="ADAL" clId="{3788ED26-A52C-4AAB-9258-3709E793CC0D}" dt="2024-09-06T12:21:18.520" v="3738" actId="1076"/>
          <ac:picMkLst>
            <pc:docMk/>
            <pc:sldMk cId="2768527952" sldId="2147375619"/>
            <ac:picMk id="7170" creationId="{73DB682A-2EAA-2061-1FFA-6F763837E24C}"/>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3.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4.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1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oleObject" Target="../embeddings/oleObject13.bin"/><Relationship Id="rId7"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oleObject" Target="../embeddings/oleObject14.bin"/><Relationship Id="rId7" Type="http://schemas.openxmlformats.org/officeDocument/2006/relationships/image" Target="../media/image41.pn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image" Target="../media/image47.jpe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2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21.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8.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4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Neha Ann Shygen</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06-September-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Software testing type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a:t>
            </a:r>
          </a:p>
          <a:p>
            <a:pPr marL="0" indent="0">
              <a:buNone/>
            </a:pPr>
            <a:r>
              <a:rPr lang="en-US" sz="2000" dirty="0"/>
              <a:t>Shell uses different types of testing in every team, smoke testing, regression testing etc.</a:t>
            </a:r>
          </a:p>
          <a:p>
            <a:pPr marL="0" indent="0">
              <a:buNone/>
            </a:pPr>
            <a:endParaRPr lang="en-US" sz="2000" dirty="0"/>
          </a:p>
          <a:p>
            <a:pPr marL="0" indent="0">
              <a:buNone/>
            </a:pPr>
            <a:r>
              <a:rPr lang="en-US" sz="2000" dirty="0"/>
              <a:t>How I feel Shell benefits from this learning</a:t>
            </a:r>
          </a:p>
          <a:p>
            <a:pPr marL="0" indent="0">
              <a:buNone/>
            </a:pPr>
            <a:r>
              <a:rPr lang="en-US" sz="2000" dirty="0"/>
              <a:t>Implementing these types of testing ensures that all defects are addressed and cleared.</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9222" name="Picture 6" descr="Functional Testing">
            <a:extLst>
              <a:ext uri="{FF2B5EF4-FFF2-40B4-BE49-F238E27FC236}">
                <a16:creationId xmlns:a16="http://schemas.microsoft.com/office/drawing/2014/main" id="{AB30F8B6-6A3C-4010-3550-40CACF94A67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85180" y="2211183"/>
            <a:ext cx="3375860" cy="33758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Software Testing life cycle</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a:t>
            </a:r>
          </a:p>
          <a:p>
            <a:pPr marL="0" indent="0">
              <a:buNone/>
            </a:pPr>
            <a:r>
              <a:rPr lang="en-US" sz="2000" dirty="0"/>
              <a:t>Every team implements this learning to perform test-driven development.</a:t>
            </a:r>
          </a:p>
          <a:p>
            <a:pPr marL="0" indent="0">
              <a:buNone/>
            </a:pPr>
            <a:endParaRPr lang="en-US" sz="2000" dirty="0"/>
          </a:p>
          <a:p>
            <a:pPr marL="0" indent="0">
              <a:buNone/>
            </a:pPr>
            <a:r>
              <a:rPr lang="en-US" sz="2000" dirty="0"/>
              <a:t>How I feel Shell benefits from this learning</a:t>
            </a:r>
          </a:p>
          <a:p>
            <a:pPr marL="0" indent="0">
              <a:buNone/>
            </a:pPr>
            <a:r>
              <a:rPr lang="en-US" sz="2000" dirty="0"/>
              <a:t>Majority of the defects are addressed before development so as to avoid serious changes to code at a later stage.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2" descr="Image result for software testing life cycle in shell">
            <a:extLst>
              <a:ext uri="{FF2B5EF4-FFF2-40B4-BE49-F238E27FC236}">
                <a16:creationId xmlns:a16="http://schemas.microsoft.com/office/drawing/2014/main" id="{86812A94-43A3-2C78-9661-77B99B44604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65955" y="2377682"/>
            <a:ext cx="3595085" cy="30428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Bug life cycle and Bug Report</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4591819"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a:t>
            </a:r>
          </a:p>
          <a:p>
            <a:pPr marL="0" indent="0">
              <a:buNone/>
            </a:pPr>
            <a:r>
              <a:rPr lang="en-US" sz="2000" dirty="0"/>
              <a:t>Shell uses Agile model and designs a bug report for every defect found.</a:t>
            </a:r>
          </a:p>
          <a:p>
            <a:pPr marL="0" indent="0">
              <a:buNone/>
            </a:pPr>
            <a:endParaRPr lang="en-US" sz="2000" dirty="0"/>
          </a:p>
          <a:p>
            <a:pPr marL="0" indent="0">
              <a:buNone/>
            </a:pPr>
            <a:r>
              <a:rPr lang="en-US" sz="2000" dirty="0"/>
              <a:t>How I feel Shell benefits from this learning</a:t>
            </a:r>
          </a:p>
          <a:p>
            <a:pPr marL="0" indent="0">
              <a:buNone/>
            </a:pPr>
            <a:r>
              <a:rPr lang="en-US" sz="2000" dirty="0"/>
              <a:t>Shell can prioritize and fix the bugs as per requirement so that the project does not suffer any major setback.</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5640404" y="1860993"/>
            <a:ext cx="6111101"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a:extLst>
              <a:ext uri="{FF2B5EF4-FFF2-40B4-BE49-F238E27FC236}">
                <a16:creationId xmlns:a16="http://schemas.microsoft.com/office/drawing/2014/main" id="{E9A4FF46-194F-3C82-CFAD-4AF6AB7E0466}"/>
              </a:ext>
            </a:extLst>
          </p:cNvPr>
          <p:cNvPicPr>
            <a:picLocks noChangeAspect="1"/>
          </p:cNvPicPr>
          <p:nvPr/>
        </p:nvPicPr>
        <p:blipFill>
          <a:blip r:embed="rId7"/>
          <a:stretch>
            <a:fillRect/>
          </a:stretch>
        </p:blipFill>
        <p:spPr>
          <a:xfrm>
            <a:off x="5640404" y="2685130"/>
            <a:ext cx="5868798" cy="2002373"/>
          </a:xfrm>
          <a:prstGeom prst="rect">
            <a:avLst/>
          </a:prstGeom>
        </p:spPr>
      </p:pic>
    </p:spTree>
    <p:extLst>
      <p:ext uri="{BB962C8B-B14F-4D97-AF65-F5344CB8AC3E}">
        <p14:creationId xmlns:p14="http://schemas.microsoft.com/office/powerpoint/2010/main" val="707549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4870951"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hat were the challenges I faced while implementing Learning 1 and my plan to overcome them</a:t>
            </a:r>
          </a:p>
          <a:p>
            <a:pPr marL="0" indent="0">
              <a:buNone/>
            </a:pPr>
            <a:r>
              <a:rPr lang="en-US" sz="2000" dirty="0"/>
              <a:t>Using GitHub actions to implement CI/CD was a challenge.</a:t>
            </a:r>
          </a:p>
          <a:p>
            <a:pPr marL="0" indent="0">
              <a:buNone/>
            </a:pPr>
            <a:r>
              <a:rPr lang="en-US" sz="2000" dirty="0"/>
              <a:t>Overcame by using a pom.xml file which rendered in a successful build.</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5496025" y="1860993"/>
            <a:ext cx="6255480"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1D77FBAF-DBAE-3517-CCBD-AF147E59C11D}"/>
              </a:ext>
            </a:extLst>
          </p:cNvPr>
          <p:cNvPicPr>
            <a:picLocks noChangeAspect="1"/>
          </p:cNvPicPr>
          <p:nvPr/>
        </p:nvPicPr>
        <p:blipFill>
          <a:blip r:embed="rId7"/>
          <a:stretch>
            <a:fillRect/>
          </a:stretch>
        </p:blipFill>
        <p:spPr>
          <a:xfrm>
            <a:off x="5651965" y="2132115"/>
            <a:ext cx="5943600" cy="3343275"/>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4553318"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hat were the challenges I faced while implementing Learning 2 and my plan to overcome them</a:t>
            </a:r>
          </a:p>
          <a:p>
            <a:pPr marL="0" indent="0">
              <a:buNone/>
            </a:pPr>
            <a:r>
              <a:rPr lang="en-US" sz="2000" dirty="0"/>
              <a:t>Designing user stories and test cases to perfection.</a:t>
            </a:r>
          </a:p>
          <a:p>
            <a:pPr marL="0" indent="0">
              <a:buNone/>
            </a:pPr>
            <a:r>
              <a:rPr lang="en-US" sz="2000" dirty="0"/>
              <a:t>Overcame by paying attention to the detail and adding every single detail.</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5595711" y="1860993"/>
            <a:ext cx="6155794"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827CBF84-7EA7-BE66-C213-6C619685CD06}"/>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61786" y="2335746"/>
            <a:ext cx="5775157" cy="2816623"/>
          </a:xfrm>
          <a:prstGeom prst="rect">
            <a:avLst/>
          </a:prstGeom>
          <a:noFill/>
          <a:ln>
            <a:noFill/>
          </a:ln>
        </p:spPr>
      </p:pic>
    </p:spTree>
    <p:extLst>
      <p:ext uri="{BB962C8B-B14F-4D97-AF65-F5344CB8AC3E}">
        <p14:creationId xmlns:p14="http://schemas.microsoft.com/office/powerpoint/2010/main" val="31591482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hat were the challenges I faced while implementing Learning 3 and my plan to overcome them</a:t>
            </a:r>
          </a:p>
          <a:p>
            <a:pPr marL="0" indent="0">
              <a:buNone/>
            </a:pPr>
            <a:r>
              <a:rPr lang="en-US" sz="2000" dirty="0"/>
              <a:t>Testing every single testcase led to the discovery of bugs in the application. </a:t>
            </a:r>
          </a:p>
          <a:p>
            <a:pPr marL="0" indent="0">
              <a:buNone/>
            </a:pPr>
            <a:r>
              <a:rPr lang="en-US" sz="2000" dirty="0"/>
              <a:t>Each bug was documented clearly with all steps mentioning how to reproduce the bu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631781"/>
            <a:ext cx="5350706" cy="4429856"/>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a:extLst>
              <a:ext uri="{FF2B5EF4-FFF2-40B4-BE49-F238E27FC236}">
                <a16:creationId xmlns:a16="http://schemas.microsoft.com/office/drawing/2014/main" id="{2569D221-D948-FBA9-CFF4-6BF0909F19CA}"/>
              </a:ext>
            </a:extLst>
          </p:cNvPr>
          <p:cNvPicPr>
            <a:picLocks noChangeAspect="1"/>
          </p:cNvPicPr>
          <p:nvPr/>
        </p:nvPicPr>
        <p:blipFill>
          <a:blip r:embed="rId7"/>
          <a:stretch>
            <a:fillRect/>
          </a:stretch>
        </p:blipFill>
        <p:spPr>
          <a:xfrm>
            <a:off x="6400799" y="1641061"/>
            <a:ext cx="5404153" cy="1825483"/>
          </a:xfrm>
          <a:prstGeom prst="rect">
            <a:avLst/>
          </a:prstGeom>
        </p:spPr>
      </p:pic>
      <p:pic>
        <p:nvPicPr>
          <p:cNvPr id="9" name="Picture 8">
            <a:extLst>
              <a:ext uri="{FF2B5EF4-FFF2-40B4-BE49-F238E27FC236}">
                <a16:creationId xmlns:a16="http://schemas.microsoft.com/office/drawing/2014/main" id="{86719757-4748-572A-334F-8C728527CC16}"/>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483540" y="3429000"/>
            <a:ext cx="5240287" cy="2632637"/>
          </a:xfrm>
          <a:prstGeom prst="rect">
            <a:avLst/>
          </a:prstGeom>
          <a:noFill/>
          <a:ln>
            <a:noFill/>
          </a:ln>
        </p:spPr>
      </p:pic>
    </p:spTree>
    <p:extLst>
      <p:ext uri="{BB962C8B-B14F-4D97-AF65-F5344CB8AC3E}">
        <p14:creationId xmlns:p14="http://schemas.microsoft.com/office/powerpoint/2010/main" val="30702040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hat were the challenges I faced while implementing Learning 4 and my plan to overcome them</a:t>
            </a:r>
          </a:p>
          <a:p>
            <a:pPr marL="0" indent="0">
              <a:buNone/>
            </a:pPr>
            <a:endParaRPr lang="en-US" sz="2000" dirty="0"/>
          </a:p>
          <a:p>
            <a:pPr marL="0" indent="0">
              <a:buNone/>
            </a:pPr>
            <a:r>
              <a:rPr lang="en-US" sz="2000" dirty="0"/>
              <a:t>Deciding the priority and severity of the bug was a challenge.</a:t>
            </a:r>
          </a:p>
          <a:p>
            <a:pPr marL="0" indent="0">
              <a:buNone/>
            </a:pPr>
            <a:endParaRPr lang="en-US" sz="2000" dirty="0"/>
          </a:p>
          <a:p>
            <a:pPr marL="0" indent="0">
              <a:buNone/>
            </a:pPr>
            <a:r>
              <a:rPr lang="en-US" sz="2000" dirty="0"/>
              <a:t>Overcame by paying attention to the business significance of the bu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0A33FD65-2F14-9568-1C90-928F3294B1A5}"/>
              </a:ext>
            </a:extLst>
          </p:cNvPr>
          <p:cNvPicPr>
            <a:picLocks noChangeAspect="1"/>
          </p:cNvPicPr>
          <p:nvPr/>
        </p:nvPicPr>
        <p:blipFill>
          <a:blip r:embed="rId7"/>
          <a:stretch>
            <a:fillRect/>
          </a:stretch>
        </p:blipFill>
        <p:spPr>
          <a:xfrm>
            <a:off x="6620571" y="2137834"/>
            <a:ext cx="1977782" cy="451361"/>
          </a:xfrm>
          <a:prstGeom prst="rect">
            <a:avLst/>
          </a:prstGeom>
        </p:spPr>
      </p:pic>
      <p:pic>
        <p:nvPicPr>
          <p:cNvPr id="7170" name="Picture 2" descr="Image result for severity or priority of a bug">
            <a:extLst>
              <a:ext uri="{FF2B5EF4-FFF2-40B4-BE49-F238E27FC236}">
                <a16:creationId xmlns:a16="http://schemas.microsoft.com/office/drawing/2014/main" id="{73DB682A-2EAA-2061-1FFA-6F763837E24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06603" y="2926293"/>
            <a:ext cx="4457700" cy="2571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85279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Understanding and </a:t>
            </a:r>
            <a:r>
              <a:rPr lang="en-US" sz="2000" dirty="0" err="1">
                <a:effectLst>
                  <a:outerShdw blurRad="38100" dist="38100" dir="2700000" algn="tl">
                    <a:srgbClr val="000000">
                      <a:alpha val="43137"/>
                    </a:srgbClr>
                  </a:outerShdw>
                </a:effectLst>
              </a:rPr>
              <a:t>implementiong</a:t>
            </a:r>
            <a:r>
              <a:rPr lang="en-US" sz="2000" dirty="0">
                <a:effectLst>
                  <a:outerShdw blurRad="38100" dist="38100" dir="2700000" algn="tl">
                    <a:srgbClr val="000000">
                      <a:alpha val="43137"/>
                    </a:srgbClr>
                  </a:outerShdw>
                </a:effectLst>
              </a:rPr>
              <a:t> these topics:</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Test cases</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Azure VM</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CI/CD pipeline using </a:t>
            </a:r>
            <a:r>
              <a:rPr lang="en-US" sz="2000" dirty="0" err="1">
                <a:effectLst>
                  <a:outerShdw blurRad="38100" dist="38100" dir="2700000" algn="tl">
                    <a:srgbClr val="000000">
                      <a:alpha val="43137"/>
                    </a:srgbClr>
                  </a:outerShdw>
                </a:effectLst>
              </a:rPr>
              <a:t>Github</a:t>
            </a:r>
            <a:r>
              <a:rPr lang="en-US" sz="2000" dirty="0">
                <a:effectLst>
                  <a:outerShdw blurRad="38100" dist="38100" dir="2700000" algn="tl">
                    <a:srgbClr val="000000">
                      <a:alpha val="43137"/>
                    </a:srgbClr>
                  </a:outerShdw>
                </a:effectLst>
              </a:rPr>
              <a:t> Action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This week</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Thorough understanding of these concepts and implemented a case study connecting all these topics.</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My motto in life is to learn and upskill myself, dream big and achieve big.</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2050" name="Picture 2" descr="Image result for quotes on motivation">
            <a:extLst>
              <a:ext uri="{FF2B5EF4-FFF2-40B4-BE49-F238E27FC236}">
                <a16:creationId xmlns:a16="http://schemas.microsoft.com/office/drawing/2014/main" id="{3576F909-EB6E-ACCD-B483-6835BF69F3E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22136" y="2015841"/>
            <a:ext cx="3708033" cy="37080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1</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The learnings for this week was very knowledgeable. This week’s sessions have taught me a lot of things and I gained a lot of knowledge.</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8194" name="Picture 2" descr="Image result for quotes on learning">
            <a:extLst>
              <a:ext uri="{FF2B5EF4-FFF2-40B4-BE49-F238E27FC236}">
                <a16:creationId xmlns:a16="http://schemas.microsoft.com/office/drawing/2014/main" id="{1805666F-A645-B8E6-D90E-1BCE344D244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18728" y="2757638"/>
            <a:ext cx="4514850" cy="228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88387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2</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SDLC, STLC</a:t>
            </a:r>
          </a:p>
          <a:p>
            <a:pPr>
              <a:lnSpc>
                <a:spcPct val="100000"/>
              </a:lnSpc>
            </a:pPr>
            <a:r>
              <a:rPr lang="en-US" sz="2000" dirty="0"/>
              <a:t>Bug Report</a:t>
            </a:r>
          </a:p>
          <a:p>
            <a:pPr>
              <a:lnSpc>
                <a:spcPct val="100000"/>
              </a:lnSpc>
            </a:pPr>
            <a:r>
              <a:rPr lang="en-US" sz="2000" dirty="0"/>
              <a:t>Software Testing</a:t>
            </a:r>
          </a:p>
          <a:p>
            <a:pPr>
              <a:lnSpc>
                <a:spcPct val="100000"/>
              </a:lnSpc>
            </a:pPr>
            <a:r>
              <a:rPr lang="en-US" sz="1800" dirty="0"/>
              <a:t>Topics for next week: Frontend Development, .NET/C#, Application Security and Experience Design.</a:t>
            </a:r>
          </a:p>
        </p:txBody>
      </p:sp>
    </p:spTree>
    <p:extLst>
      <p:ext uri="{BB962C8B-B14F-4D97-AF65-F5344CB8AC3E}">
        <p14:creationId xmlns:p14="http://schemas.microsoft.com/office/powerpoint/2010/main" val="38658501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Definition of Ready and Definition of Done</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408146"/>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Definition of Ready (DOR):</a:t>
            </a:r>
          </a:p>
          <a:p>
            <a:pPr marL="0" indent="0">
              <a:buNone/>
            </a:pPr>
            <a:r>
              <a:rPr lang="en-US" sz="2000" dirty="0"/>
              <a:t>User Story descriptions are clear, estimated and understood by every team member, ready to be taken by development team, story must have clear business value, story needs at least one acceptance criteria.</a:t>
            </a:r>
          </a:p>
          <a:p>
            <a:pPr marL="0" indent="0">
              <a:buNone/>
            </a:pPr>
            <a:endParaRPr lang="en-US" sz="2000" dirty="0"/>
          </a:p>
          <a:p>
            <a:pPr marL="0" indent="0">
              <a:buNone/>
            </a:pPr>
            <a:r>
              <a:rPr lang="en-US" sz="2000" dirty="0"/>
              <a:t>Definition of Done (DOD): </a:t>
            </a:r>
          </a:p>
          <a:p>
            <a:pPr marL="0" indent="0">
              <a:buNone/>
            </a:pPr>
            <a:r>
              <a:rPr lang="en-US" sz="2000" dirty="0"/>
              <a:t>Automated tests are written and all tests are green, code is </a:t>
            </a:r>
            <a:r>
              <a:rPr lang="en-US" sz="2000" dirty="0" err="1"/>
              <a:t>refractored</a:t>
            </a:r>
            <a:r>
              <a:rPr lang="en-US" sz="2000" dirty="0"/>
              <a:t> and reviewed, code is integrated with master branch and deployed to staging environment, UAT is done and the code is ready to be released.</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3076" name="Picture 4" descr="Image result for definition of ready and definition of done">
            <a:extLst>
              <a:ext uri="{FF2B5EF4-FFF2-40B4-BE49-F238E27FC236}">
                <a16:creationId xmlns:a16="http://schemas.microsoft.com/office/drawing/2014/main" id="{B829E2B0-DD84-8AB9-8385-9D399B9E182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83422" y="2268053"/>
            <a:ext cx="5185460" cy="29536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Software testing type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395428"/>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Functional Testing: all functionalities are tested.</a:t>
            </a:r>
          </a:p>
          <a:p>
            <a:r>
              <a:rPr lang="en-US" sz="1800" dirty="0"/>
              <a:t>Non-functional Testing: Load testing, response time testing, GUI testing.</a:t>
            </a:r>
          </a:p>
          <a:p>
            <a:r>
              <a:rPr lang="en-US" sz="1800" dirty="0"/>
              <a:t>White box testing: by developers who have complete information of the architecture and input and output.</a:t>
            </a:r>
          </a:p>
          <a:p>
            <a:r>
              <a:rPr lang="en-US" sz="1800" dirty="0"/>
              <a:t>Black-box testing: done by QA engineers who don’t have any idea of the internal architecture but knows the input and output.</a:t>
            </a:r>
          </a:p>
          <a:p>
            <a:r>
              <a:rPr lang="en-US" sz="1800" dirty="0"/>
              <a:t>Grey-box testing: done by automation engineers who know the input and output and the partial internal architecture.</a:t>
            </a:r>
          </a:p>
          <a:p>
            <a:r>
              <a:rPr lang="en-US" sz="1800" dirty="0"/>
              <a:t>Green-box testing: done by business users</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4098" name="Picture 2" descr="Image result for testing triangle - unit, integration system">
            <a:extLst>
              <a:ext uri="{FF2B5EF4-FFF2-40B4-BE49-F238E27FC236}">
                <a16:creationId xmlns:a16="http://schemas.microsoft.com/office/drawing/2014/main" id="{C538A686-6455-20E8-12C5-3D37A0D6FA9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04464" y="2613238"/>
            <a:ext cx="4143375" cy="2571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Software Testing life cycle</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0495"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Arial" panose="020B0604020202020204" pitchFamily="34" charset="0"/>
              <a:buAutoNum type="arabicPeriod"/>
            </a:pPr>
            <a:r>
              <a:rPr lang="en-US" sz="2000" dirty="0"/>
              <a:t>Requirement Analysis</a:t>
            </a:r>
          </a:p>
          <a:p>
            <a:pPr marL="457200" indent="-457200">
              <a:buFont typeface="Arial" panose="020B0604020202020204" pitchFamily="34" charset="0"/>
              <a:buAutoNum type="arabicPeriod"/>
            </a:pPr>
            <a:r>
              <a:rPr lang="en-US" sz="2000" dirty="0"/>
              <a:t>Test planning</a:t>
            </a:r>
          </a:p>
          <a:p>
            <a:pPr marL="457200" indent="-457200">
              <a:buFont typeface="Arial" panose="020B0604020202020204" pitchFamily="34" charset="0"/>
              <a:buAutoNum type="arabicPeriod"/>
            </a:pPr>
            <a:r>
              <a:rPr lang="en-US" sz="2000" dirty="0"/>
              <a:t>Test case development</a:t>
            </a:r>
          </a:p>
          <a:p>
            <a:pPr marL="457200" indent="-457200">
              <a:buFont typeface="Arial" panose="020B0604020202020204" pitchFamily="34" charset="0"/>
              <a:buAutoNum type="arabicPeriod"/>
            </a:pPr>
            <a:r>
              <a:rPr lang="en-US" sz="2000" dirty="0"/>
              <a:t>Environment setup</a:t>
            </a:r>
          </a:p>
          <a:p>
            <a:pPr marL="457200" indent="-457200">
              <a:buFont typeface="Arial" panose="020B0604020202020204" pitchFamily="34" charset="0"/>
              <a:buAutoNum type="arabicPeriod"/>
            </a:pPr>
            <a:r>
              <a:rPr lang="en-US" sz="2000" dirty="0"/>
              <a:t>Test execution</a:t>
            </a:r>
          </a:p>
          <a:p>
            <a:pPr marL="457200" indent="-457200">
              <a:buFont typeface="Arial" panose="020B0604020202020204" pitchFamily="34" charset="0"/>
              <a:buAutoNum type="arabicPeriod"/>
            </a:pPr>
            <a:r>
              <a:rPr lang="en-US" sz="2000" dirty="0"/>
              <a:t>Test cycle closure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7209322" y="1860993"/>
            <a:ext cx="4542183"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122" name="Picture 2" descr="Image result for software testing life cycle">
            <a:extLst>
              <a:ext uri="{FF2B5EF4-FFF2-40B4-BE49-F238E27FC236}">
                <a16:creationId xmlns:a16="http://schemas.microsoft.com/office/drawing/2014/main" id="{06F42B64-3118-D8D3-3CD1-15604930158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85133" y="2143124"/>
            <a:ext cx="3649679" cy="34455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16082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Bug life cycle and Bug Report</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Bug Report contains:</a:t>
            </a:r>
          </a:p>
          <a:p>
            <a:pPr marL="457200" indent="-457200">
              <a:buFont typeface="Arial" panose="020B0604020202020204" pitchFamily="34" charset="0"/>
              <a:buAutoNum type="arabicPeriod"/>
            </a:pPr>
            <a:r>
              <a:rPr lang="en-US" sz="2000" dirty="0"/>
              <a:t>Description of bug</a:t>
            </a:r>
          </a:p>
          <a:p>
            <a:pPr marL="457200" indent="-457200">
              <a:buFont typeface="Arial" panose="020B0604020202020204" pitchFamily="34" charset="0"/>
              <a:buAutoNum type="arabicPeriod"/>
            </a:pPr>
            <a:r>
              <a:rPr lang="en-US" sz="2000" dirty="0"/>
              <a:t>Steps to reproduce</a:t>
            </a:r>
          </a:p>
          <a:p>
            <a:pPr marL="457200" indent="-457200">
              <a:buFont typeface="Arial" panose="020B0604020202020204" pitchFamily="34" charset="0"/>
              <a:buAutoNum type="arabicPeriod"/>
            </a:pPr>
            <a:r>
              <a:rPr lang="en-US" sz="2000" dirty="0"/>
              <a:t>Time stamp</a:t>
            </a:r>
          </a:p>
          <a:p>
            <a:pPr marL="457200" indent="-457200">
              <a:buFont typeface="Arial" panose="020B0604020202020204" pitchFamily="34" charset="0"/>
              <a:buAutoNum type="arabicPeriod"/>
            </a:pPr>
            <a:r>
              <a:rPr lang="en-US" sz="2000" dirty="0"/>
              <a:t>Severity</a:t>
            </a:r>
          </a:p>
          <a:p>
            <a:pPr marL="457200" indent="-457200">
              <a:buFont typeface="Arial" panose="020B0604020202020204" pitchFamily="34" charset="0"/>
              <a:buAutoNum type="arabicPeriod"/>
            </a:pPr>
            <a:r>
              <a:rPr lang="en-US" sz="2000" dirty="0"/>
              <a:t>Priority</a:t>
            </a:r>
          </a:p>
          <a:p>
            <a:pPr marL="457200" indent="-457200">
              <a:buFont typeface="Arial" panose="020B0604020202020204" pitchFamily="34" charset="0"/>
              <a:buAutoNum type="arabicPeriod"/>
            </a:pPr>
            <a:r>
              <a:rPr lang="en-US" sz="2000" dirty="0"/>
              <a:t>Assignee</a:t>
            </a:r>
          </a:p>
          <a:p>
            <a:pPr marL="457200" indent="-457200">
              <a:buFont typeface="Arial" panose="020B0604020202020204" pitchFamily="34" charset="0"/>
              <a:buAutoNum type="arabicPeriod"/>
            </a:pPr>
            <a:r>
              <a:rPr lang="en-US" sz="2000" dirty="0"/>
              <a:t>Screenshot/Record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028" name="Picture 4" descr="Image result for software bug life cycle">
            <a:extLst>
              <a:ext uri="{FF2B5EF4-FFF2-40B4-BE49-F238E27FC236}">
                <a16:creationId xmlns:a16="http://schemas.microsoft.com/office/drawing/2014/main" id="{EFED4152-CEDC-7A90-7999-F67DE6B82C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32764" y="2232682"/>
            <a:ext cx="4993756" cy="33328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75218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Definition of Ready and Definition of Done</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a:t>
            </a:r>
          </a:p>
          <a:p>
            <a:pPr marL="0" indent="0">
              <a:buNone/>
            </a:pPr>
            <a:r>
              <a:rPr lang="en-US" sz="2000" dirty="0"/>
              <a:t>DOR and DOD needs to be implemented in every project team of a company to ensure successful completion of the project.</a:t>
            </a:r>
          </a:p>
          <a:p>
            <a:pPr marL="0" indent="0">
              <a:buNone/>
            </a:pPr>
            <a:r>
              <a:rPr lang="en-US" sz="2000" dirty="0"/>
              <a:t>How I feel Shell benefits from this learning</a:t>
            </a:r>
          </a:p>
          <a:p>
            <a:pPr marL="0" indent="0">
              <a:buNone/>
            </a:pPr>
            <a:r>
              <a:rPr lang="en-US" sz="2000" dirty="0"/>
              <a:t>This ensures that the timelines are met and the client is satisfied with the performanc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146" name="Picture 2" descr="Image result for sdlc">
            <a:extLst>
              <a:ext uri="{FF2B5EF4-FFF2-40B4-BE49-F238E27FC236}">
                <a16:creationId xmlns:a16="http://schemas.microsoft.com/office/drawing/2014/main" id="{59FF346E-A7EB-A9B5-FC93-D8008BECB48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36217" y="2252162"/>
            <a:ext cx="4721593" cy="27426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876</TotalTime>
  <Words>835</Words>
  <Application>Microsoft Office PowerPoint</Application>
  <PresentationFormat>Widescreen</PresentationFormat>
  <Paragraphs>114</Paragraphs>
  <Slides>23</Slides>
  <Notes>0</Notes>
  <HiddenSlides>1</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7" baseType="lpstr">
      <vt:lpstr>Arial</vt:lpstr>
      <vt:lpstr>Calibri</vt:lpstr>
      <vt:lpstr>Office Theme</vt:lpstr>
      <vt:lpstr>think-cell Slide</vt:lpstr>
      <vt:lpstr>PowerPoint Presentation</vt:lpstr>
      <vt:lpstr>About Me</vt:lpstr>
      <vt:lpstr>PowerPoint Presentation</vt:lpstr>
      <vt:lpstr>Learning 1 | Definition of Ready and Definition of Done</vt:lpstr>
      <vt:lpstr>Learning 2 | Software testing types</vt:lpstr>
      <vt:lpstr>Learning 3 | Software Testing life cycle</vt:lpstr>
      <vt:lpstr>Learning 4 | Bug life cycle and Bug Report</vt:lpstr>
      <vt:lpstr>PowerPoint Presentation</vt:lpstr>
      <vt:lpstr>Learning 1 | Definition of Ready and Definition of Done</vt:lpstr>
      <vt:lpstr>Learning 2 | Software testing types</vt:lpstr>
      <vt:lpstr>Learning 3 | Software Testing life cycle</vt:lpstr>
      <vt:lpstr>Learning 4 |Bug life cycle and Bug Report</vt:lpstr>
      <vt:lpstr>PowerPoint Presentation</vt:lpstr>
      <vt:lpstr>Challenge faced while implementing Learning 1</vt:lpstr>
      <vt:lpstr>Challenge faced while implementing Learning 2</vt:lpstr>
      <vt:lpstr>Challenge faced while implementing Learning 3</vt:lpstr>
      <vt:lpstr>Challenge faced while implementing Learning 4</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hygen, Neha A SBOBNG-PTIY/BBN</cp:lastModifiedBy>
  <cp:revision>499</cp:revision>
  <dcterms:created xsi:type="dcterms:W3CDTF">2022-01-18T12:35:56Z</dcterms:created>
  <dcterms:modified xsi:type="dcterms:W3CDTF">2024-09-06T12:29: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